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notesSlides/notesSlide28.xml" ContentType="application/vnd.openxmlformats-officedocument.presentationml.notesSlide+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0.xml" ContentType="application/vnd.openxmlformats-officedocument.presentationml.tags+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2.xml" ContentType="application/vnd.openxmlformats-officedocument.presentationml.tags+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57"/>
  </p:notesMasterIdLst>
  <p:handoutMasterIdLst>
    <p:handoutMasterId r:id="rId58"/>
  </p:handoutMasterIdLst>
  <p:sldIdLst>
    <p:sldId id="256" r:id="rId7"/>
    <p:sldId id="305" r:id="rId8"/>
    <p:sldId id="284" r:id="rId9"/>
    <p:sldId id="285" r:id="rId10"/>
    <p:sldId id="288" r:id="rId11"/>
    <p:sldId id="286" r:id="rId12"/>
    <p:sldId id="287" r:id="rId13"/>
    <p:sldId id="289" r:id="rId14"/>
    <p:sldId id="257"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 id="271" r:id="rId29"/>
    <p:sldId id="272" r:id="rId30"/>
    <p:sldId id="273" r:id="rId31"/>
    <p:sldId id="274" r:id="rId32"/>
    <p:sldId id="275" r:id="rId33"/>
    <p:sldId id="276" r:id="rId34"/>
    <p:sldId id="283" r:id="rId35"/>
    <p:sldId id="277" r:id="rId36"/>
    <p:sldId id="278" r:id="rId37"/>
    <p:sldId id="279" r:id="rId38"/>
    <p:sldId id="280" r:id="rId39"/>
    <p:sldId id="281" r:id="rId40"/>
    <p:sldId id="282" r:id="rId41"/>
    <p:sldId id="291" r:id="rId42"/>
    <p:sldId id="292" r:id="rId43"/>
    <p:sldId id="293" r:id="rId44"/>
    <p:sldId id="290" r:id="rId45"/>
    <p:sldId id="294" r:id="rId46"/>
    <p:sldId id="295" r:id="rId47"/>
    <p:sldId id="296" r:id="rId48"/>
    <p:sldId id="297" r:id="rId49"/>
    <p:sldId id="298" r:id="rId50"/>
    <p:sldId id="299" r:id="rId51"/>
    <p:sldId id="300" r:id="rId52"/>
    <p:sldId id="301" r:id="rId53"/>
    <p:sldId id="302" r:id="rId54"/>
    <p:sldId id="303" r:id="rId55"/>
    <p:sldId id="304" r:id="rId56"/>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s" id="{7009932F-DBE6-451D-8083-274AC629F7BA}">
          <p14:sldIdLst>
            <p14:sldId id="256"/>
            <p14:sldId id="305"/>
            <p14:sldId id="284"/>
            <p14:sldId id="285"/>
          </p14:sldIdLst>
        </p14:section>
        <p14:section name="Layouts" id="{6BE481F0-F4F8-49F2-BB2E-ACB3B147AD90}">
          <p14:sldIdLst>
            <p14:sldId id="288"/>
            <p14:sldId id="286"/>
            <p14:sldId id="287"/>
            <p14:sldId id="289"/>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83"/>
          </p14:sldIdLst>
        </p14:section>
        <p14:section name="Beispielfolien" id="{9F664BE8-F2B8-47DD-B164-8695614E61AF}">
          <p14:sldIdLst>
            <p14:sldId id="277"/>
            <p14:sldId id="278"/>
            <p14:sldId id="279"/>
            <p14:sldId id="280"/>
            <p14:sldId id="281"/>
            <p14:sldId id="282"/>
            <p14:sldId id="291"/>
            <p14:sldId id="292"/>
            <p14:sldId id="293"/>
            <p14:sldId id="290"/>
            <p14:sldId id="294"/>
            <p14:sldId id="295"/>
            <p14:sldId id="296"/>
            <p14:sldId id="297"/>
            <p14:sldId id="298"/>
            <p14:sldId id="299"/>
            <p14:sldId id="300"/>
            <p14:sldId id="301"/>
            <p14:sldId id="302"/>
            <p14:sldId id="303"/>
            <p14:sldId id="3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9B2127-F530-492B-A485-027AEB36622F}" v="2" dt="2024-10-21T15:26:55.790"/>
  </p1510:revLst>
</p1510:revInfo>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06" autoAdjust="0"/>
    <p:restoredTop sz="94660"/>
  </p:normalViewPr>
  <p:slideViewPr>
    <p:cSldViewPr snapToGrid="0" showGuides="1">
      <p:cViewPr varScale="1">
        <p:scale>
          <a:sx n="125" d="100"/>
          <a:sy n="125" d="100"/>
        </p:scale>
        <p:origin x="894" y="10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0" d="100"/>
          <a:sy n="80" d="100"/>
        </p:scale>
        <p:origin x="3354"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Ludwig" userId="4ec5108e-cdde-426b-9e59-671448930cd7" providerId="ADAL" clId="{A89B2127-F530-492B-A485-027AEB36622F}"/>
    <pc:docChg chg="addSld delSld modSld sldOrd modSection">
      <pc:chgData name="Michael Ludwig" userId="4ec5108e-cdde-426b-9e59-671448930cd7" providerId="ADAL" clId="{A89B2127-F530-492B-A485-027AEB36622F}" dt="2024-10-21T16:05:33.442" v="29" actId="20577"/>
      <pc:docMkLst>
        <pc:docMk/>
      </pc:docMkLst>
      <pc:sldChg chg="modSp mod ord">
        <pc:chgData name="Michael Ludwig" userId="4ec5108e-cdde-426b-9e59-671448930cd7" providerId="ADAL" clId="{A89B2127-F530-492B-A485-027AEB36622F}" dt="2024-10-21T16:05:33.442" v="29" actId="20577"/>
        <pc:sldMkLst>
          <pc:docMk/>
          <pc:sldMk cId="1961435607" sldId="256"/>
        </pc:sldMkLst>
        <pc:spChg chg="mod">
          <ac:chgData name="Michael Ludwig" userId="4ec5108e-cdde-426b-9e59-671448930cd7" providerId="ADAL" clId="{A89B2127-F530-492B-A485-027AEB36622F}" dt="2024-10-21T16:05:25.333" v="19" actId="20577"/>
          <ac:spMkLst>
            <pc:docMk/>
            <pc:sldMk cId="1961435607" sldId="256"/>
            <ac:spMk id="5" creationId="{009FACD8-4C64-3FF7-D33B-96630C5B0616}"/>
          </ac:spMkLst>
        </pc:spChg>
        <pc:spChg chg="mod">
          <ac:chgData name="Michael Ludwig" userId="4ec5108e-cdde-426b-9e59-671448930cd7" providerId="ADAL" clId="{A89B2127-F530-492B-A485-027AEB36622F}" dt="2024-10-21T16:05:33.442" v="29" actId="20577"/>
          <ac:spMkLst>
            <pc:docMk/>
            <pc:sldMk cId="1961435607" sldId="256"/>
            <ac:spMk id="6" creationId="{21C37B6B-EE0D-40DA-400A-9A3814205ADA}"/>
          </ac:spMkLst>
        </pc:spChg>
      </pc:sldChg>
      <pc:sldChg chg="ord">
        <pc:chgData name="Michael Ludwig" userId="4ec5108e-cdde-426b-9e59-671448930cd7" providerId="ADAL" clId="{A89B2127-F530-492B-A485-027AEB36622F}" dt="2024-10-21T16:04:36.605" v="12"/>
        <pc:sldMkLst>
          <pc:docMk/>
          <pc:sldMk cId="179730920" sldId="257"/>
        </pc:sldMkLst>
      </pc:sldChg>
      <pc:sldChg chg="del">
        <pc:chgData name="Michael Ludwig" userId="4ec5108e-cdde-426b-9e59-671448930cd7" providerId="ADAL" clId="{A89B2127-F530-492B-A485-027AEB36622F}" dt="2024-10-21T15:26:40.215" v="5" actId="2696"/>
        <pc:sldMkLst>
          <pc:docMk/>
          <pc:sldMk cId="2612167789" sldId="284"/>
        </pc:sldMkLst>
      </pc:sldChg>
      <pc:sldChg chg="add">
        <pc:chgData name="Michael Ludwig" userId="4ec5108e-cdde-426b-9e59-671448930cd7" providerId="ADAL" clId="{A89B2127-F530-492B-A485-027AEB36622F}" dt="2024-10-21T15:26:45.247" v="6"/>
        <pc:sldMkLst>
          <pc:docMk/>
          <pc:sldMk cId="3149140736" sldId="284"/>
        </pc:sldMkLst>
      </pc:sldChg>
      <pc:sldChg chg="add">
        <pc:chgData name="Michael Ludwig" userId="4ec5108e-cdde-426b-9e59-671448930cd7" providerId="ADAL" clId="{A89B2127-F530-492B-A485-027AEB36622F}" dt="2024-10-21T15:26:55.790" v="8"/>
        <pc:sldMkLst>
          <pc:docMk/>
          <pc:sldMk cId="1436708450" sldId="285"/>
        </pc:sldMkLst>
      </pc:sldChg>
      <pc:sldChg chg="del">
        <pc:chgData name="Michael Ludwig" userId="4ec5108e-cdde-426b-9e59-671448930cd7" providerId="ADAL" clId="{A89B2127-F530-492B-A485-027AEB36622F}" dt="2024-10-21T15:26:52.454" v="7" actId="2696"/>
        <pc:sldMkLst>
          <pc:docMk/>
          <pc:sldMk cId="3179619511" sldId="285"/>
        </pc:sldMkLst>
      </pc:sldChg>
      <pc:sldChg chg="ord">
        <pc:chgData name="Michael Ludwig" userId="4ec5108e-cdde-426b-9e59-671448930cd7" providerId="ADAL" clId="{A89B2127-F530-492B-A485-027AEB36622F}" dt="2024-10-21T15:26:22.513" v="4"/>
        <pc:sldMkLst>
          <pc:docMk/>
          <pc:sldMk cId="3264082602" sldId="286"/>
        </pc:sldMkLst>
      </pc:sldChg>
      <pc:sldChg chg="ord">
        <pc:chgData name="Michael Ludwig" userId="4ec5108e-cdde-426b-9e59-671448930cd7" providerId="ADAL" clId="{A89B2127-F530-492B-A485-027AEB36622F}" dt="2024-10-21T15:26:22.513" v="4"/>
        <pc:sldMkLst>
          <pc:docMk/>
          <pc:sldMk cId="3158592774" sldId="287"/>
        </pc:sldMkLst>
      </pc:sldChg>
      <pc:sldChg chg="ord">
        <pc:chgData name="Michael Ludwig" userId="4ec5108e-cdde-426b-9e59-671448930cd7" providerId="ADAL" clId="{A89B2127-F530-492B-A485-027AEB36622F}" dt="2024-10-21T15:26:22.513" v="4"/>
        <pc:sldMkLst>
          <pc:docMk/>
          <pc:sldMk cId="1663290484" sldId="288"/>
        </pc:sldMkLst>
      </pc:sldChg>
      <pc:sldChg chg="ord">
        <pc:chgData name="Michael Ludwig" userId="4ec5108e-cdde-426b-9e59-671448930cd7" providerId="ADAL" clId="{A89B2127-F530-492B-A485-027AEB36622F}" dt="2024-10-21T15:26:22.513" v="4"/>
        <pc:sldMkLst>
          <pc:docMk/>
          <pc:sldMk cId="2631729926" sldId="289"/>
        </pc:sldMkLst>
      </pc:sldChg>
      <pc:sldChg chg="new ord">
        <pc:chgData name="Michael Ludwig" userId="4ec5108e-cdde-426b-9e59-671448930cd7" providerId="ADAL" clId="{A89B2127-F530-492B-A485-027AEB36622F}" dt="2024-10-21T15:26:11.298" v="2"/>
        <pc:sldMkLst>
          <pc:docMk/>
          <pc:sldMk cId="3949430378"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Legende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General</c:formatCode>
                <c:ptCount val="4"/>
                <c:pt idx="0">
                  <c:v>20000</c:v>
                </c:pt>
                <c:pt idx="1">
                  <c:v>20000</c:v>
                </c:pt>
                <c:pt idx="2">
                  <c:v>20000</c:v>
                </c:pt>
                <c:pt idx="3">
                  <c:v>20000</c:v>
                </c:pt>
              </c:numCache>
            </c:numRef>
          </c:val>
          <c:extLst>
            <c:ext xmlns:c16="http://schemas.microsoft.com/office/drawing/2014/chart" uri="{C3380CC4-5D6E-409C-BE32-E72D297353CC}">
              <c16:uniqueId val="{00000000-C647-42DF-8AC6-824E9BE4B663}"/>
            </c:ext>
          </c:extLst>
        </c:ser>
        <c:ser>
          <c:idx val="1"/>
          <c:order val="1"/>
          <c:tx>
            <c:strRef>
              <c:f>Tabelle1!$C$1</c:f>
              <c:strCache>
                <c:ptCount val="1"/>
                <c:pt idx="0">
                  <c:v>Legende 2</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C$2:$C$5</c:f>
              <c:numCache>
                <c:formatCode>General</c:formatCode>
                <c:ptCount val="4"/>
                <c:pt idx="0">
                  <c:v>12000</c:v>
                </c:pt>
                <c:pt idx="1">
                  <c:v>12000</c:v>
                </c:pt>
                <c:pt idx="2">
                  <c:v>12000</c:v>
                </c:pt>
                <c:pt idx="3">
                  <c:v>12000</c:v>
                </c:pt>
              </c:numCache>
            </c:numRef>
          </c:val>
          <c:extLst>
            <c:ext xmlns:c16="http://schemas.microsoft.com/office/drawing/2014/chart" uri="{C3380CC4-5D6E-409C-BE32-E72D297353CC}">
              <c16:uniqueId val="{00000001-C647-42DF-8AC6-824E9BE4B663}"/>
            </c:ext>
          </c:extLst>
        </c:ser>
        <c:ser>
          <c:idx val="2"/>
          <c:order val="2"/>
          <c:tx>
            <c:strRef>
              <c:f>Tabelle1!$D$1</c:f>
              <c:strCache>
                <c:ptCount val="1"/>
                <c:pt idx="0">
                  <c:v>Legende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Ich bin ein kleines Label</c:v>
                </c:pt>
                <c:pt idx="1">
                  <c:v>Ich bin ein kleines Label</c:v>
                </c:pt>
                <c:pt idx="2">
                  <c:v>Ich bin ein kleines Label</c:v>
                </c:pt>
                <c:pt idx="3">
                  <c:v>Ich bin ein kleines Label</c:v>
                </c:pt>
              </c:strCache>
            </c:strRef>
          </c:cat>
          <c:val>
            <c:numRef>
              <c:f>Tabelle1!$D$2:$D$5</c:f>
              <c:numCache>
                <c:formatCode>General</c:formatCode>
                <c:ptCount val="4"/>
                <c:pt idx="0">
                  <c:v>16000</c:v>
                </c:pt>
                <c:pt idx="1">
                  <c:v>16000</c:v>
                </c:pt>
                <c:pt idx="2">
                  <c:v>16000</c:v>
                </c:pt>
                <c:pt idx="3">
                  <c:v>16000</c:v>
                </c:pt>
              </c:numCache>
            </c:numRef>
          </c:val>
          <c:extLst>
            <c:ext xmlns:c16="http://schemas.microsoft.com/office/drawing/2014/chart" uri="{C3380CC4-5D6E-409C-BE32-E72D297353CC}">
              <c16:uniqueId val="{00000002-C647-42DF-8AC6-824E9BE4B663}"/>
            </c:ext>
          </c:extLst>
        </c:ser>
        <c:dLbls>
          <c:dLblPos val="outEnd"/>
          <c:showLegendKey val="0"/>
          <c:showVal val="1"/>
          <c:showCatName val="0"/>
          <c:showSerName val="0"/>
          <c:showPercent val="0"/>
          <c:showBubbleSize val="0"/>
        </c:dLbls>
        <c:gapWidth val="219"/>
        <c:overlap val="-27"/>
        <c:axId val="994239824"/>
        <c:axId val="994234424"/>
      </c:barChart>
      <c:catAx>
        <c:axId val="994239824"/>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4424"/>
        <c:crosses val="autoZero"/>
        <c:auto val="1"/>
        <c:lblAlgn val="ctr"/>
        <c:lblOffset val="100"/>
        <c:noMultiLvlLbl val="0"/>
      </c:catAx>
      <c:valAx>
        <c:axId val="9942344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crossAx val="994239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tx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704085674988768"/>
          <c:y val="0.15710998271515281"/>
          <c:w val="0.26591828650022475"/>
          <c:h val="0.68431500345353313"/>
        </c:manualLayout>
      </c:layout>
      <c:doughnutChart>
        <c:varyColors val="1"/>
        <c:ser>
          <c:idx val="0"/>
          <c:order val="0"/>
          <c:tx>
            <c:strRef>
              <c:f>Tabelle1!$B$1</c:f>
              <c:strCache>
                <c:ptCount val="1"/>
                <c:pt idx="0">
                  <c:v>Verkauf</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D6C2-4EDA-B22A-BA1E9462A932}"/>
              </c:ext>
            </c:extLst>
          </c:dPt>
          <c:dPt>
            <c:idx val="1"/>
            <c:bubble3D val="0"/>
            <c:spPr>
              <a:solidFill>
                <a:schemeClr val="bg1"/>
              </a:solidFill>
              <a:ln w="19050">
                <a:noFill/>
              </a:ln>
              <a:effectLst/>
            </c:spPr>
            <c:extLst>
              <c:ext xmlns:c16="http://schemas.microsoft.com/office/drawing/2014/chart" uri="{C3380CC4-5D6E-409C-BE32-E72D297353CC}">
                <c16:uniqueId val="{00000003-D6C2-4EDA-B22A-BA1E9462A932}"/>
              </c:ext>
            </c:extLst>
          </c:dPt>
          <c:dPt>
            <c:idx val="2"/>
            <c:bubble3D val="0"/>
            <c:spPr>
              <a:solidFill>
                <a:schemeClr val="tx2"/>
              </a:solidFill>
              <a:ln w="19050">
                <a:noFill/>
              </a:ln>
              <a:effectLst/>
            </c:spPr>
            <c:extLst>
              <c:ext xmlns:c16="http://schemas.microsoft.com/office/drawing/2014/chart" uri="{C3380CC4-5D6E-409C-BE32-E72D297353CC}">
                <c16:uniqueId val="{00000005-D6C2-4EDA-B22A-BA1E9462A932}"/>
              </c:ext>
            </c:extLst>
          </c:dPt>
          <c:dPt>
            <c:idx val="3"/>
            <c:bubble3D val="0"/>
            <c:spPr>
              <a:solidFill>
                <a:schemeClr val="accent1"/>
              </a:solidFill>
              <a:ln w="19050">
                <a:noFill/>
              </a:ln>
              <a:effectLst/>
            </c:spPr>
            <c:extLst>
              <c:ext xmlns:c16="http://schemas.microsoft.com/office/drawing/2014/chart" uri="{C3380CC4-5D6E-409C-BE32-E72D297353CC}">
                <c16:uniqueId val="{00000007-D6C2-4EDA-B22A-BA1E9462A932}"/>
              </c:ext>
            </c:extLst>
          </c:dPt>
          <c:cat>
            <c:strRef>
              <c:f>Tabelle1!$A$2:$A$5</c:f>
              <c:strCache>
                <c:ptCount val="4"/>
                <c:pt idx="0">
                  <c:v>Ich bin ein kleines Label</c:v>
                </c:pt>
                <c:pt idx="1">
                  <c:v>Ich bin ein kleines Label</c:v>
                </c:pt>
                <c:pt idx="2">
                  <c:v>Ich bin ein kleines Label</c:v>
                </c:pt>
                <c:pt idx="3">
                  <c:v>Ich bin ein kleines Label</c:v>
                </c:pt>
              </c:strCache>
            </c:strRef>
          </c:cat>
          <c:val>
            <c:numRef>
              <c:f>Tabelle1!$B$2:$B$5</c:f>
              <c:numCache>
                <c:formatCode>0%</c:formatCode>
                <c:ptCount val="4"/>
                <c:pt idx="0">
                  <c:v>0.56000000000000005</c:v>
                </c:pt>
                <c:pt idx="1">
                  <c:v>0.24</c:v>
                </c:pt>
                <c:pt idx="2">
                  <c:v>0.13</c:v>
                </c:pt>
                <c:pt idx="3">
                  <c:v>7.0000000000000007E-2</c:v>
                </c:pt>
              </c:numCache>
            </c:numRef>
          </c:val>
          <c:extLst>
            <c:ext xmlns:c16="http://schemas.microsoft.com/office/drawing/2014/chart" uri="{C3380CC4-5D6E-409C-BE32-E72D297353CC}">
              <c16:uniqueId val="{00000008-D6C2-4EDA-B22A-BA1E9462A93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21.10.2024</a:t>
            </a:fld>
            <a:endParaRPr lang="de-DE" dirty="0"/>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dirty="0"/>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21.10.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dirty="0"/>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2pPr>
    <a:lvl3pPr marL="3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3pPr>
    <a:lvl4pPr marL="5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4pPr>
    <a:lvl5pPr marL="72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5pPr>
    <a:lvl6pPr marL="90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6pPr>
    <a:lvl7pPr marL="108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7pPr>
    <a:lvl8pPr marL="126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8pPr>
    <a:lvl9pPr marL="1440000" indent="-180000" algn="l" defTabSz="914400" rtl="0" eaLnBrk="1" latinLnBrk="0" hangingPunct="1">
      <a:spcAft>
        <a:spcPts val="300"/>
      </a:spcAft>
      <a:buFont typeface="Wingdings" panose="05000000000000000000" pitchFamily="2" charset="2"/>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a:t>
            </a:fld>
            <a:endParaRPr lang="de-DE" dirty="0"/>
          </a:p>
        </p:txBody>
      </p:sp>
    </p:spTree>
    <p:extLst>
      <p:ext uri="{BB962C8B-B14F-4D97-AF65-F5344CB8AC3E}">
        <p14:creationId xmlns:p14="http://schemas.microsoft.com/office/powerpoint/2010/main" val="4041621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1</a:t>
            </a:fld>
            <a:endParaRPr lang="de-DE" dirty="0"/>
          </a:p>
        </p:txBody>
      </p:sp>
    </p:spTree>
    <p:extLst>
      <p:ext uri="{BB962C8B-B14F-4D97-AF65-F5344CB8AC3E}">
        <p14:creationId xmlns:p14="http://schemas.microsoft.com/office/powerpoint/2010/main" val="1248298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2</a:t>
            </a:fld>
            <a:endParaRPr lang="de-DE" dirty="0"/>
          </a:p>
        </p:txBody>
      </p:sp>
    </p:spTree>
    <p:extLst>
      <p:ext uri="{BB962C8B-B14F-4D97-AF65-F5344CB8AC3E}">
        <p14:creationId xmlns:p14="http://schemas.microsoft.com/office/powerpoint/2010/main" val="2541094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3</a:t>
            </a:fld>
            <a:endParaRPr lang="de-DE" dirty="0"/>
          </a:p>
        </p:txBody>
      </p:sp>
    </p:spTree>
    <p:extLst>
      <p:ext uri="{BB962C8B-B14F-4D97-AF65-F5344CB8AC3E}">
        <p14:creationId xmlns:p14="http://schemas.microsoft.com/office/powerpoint/2010/main" val="1476281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4</a:t>
            </a:fld>
            <a:endParaRPr lang="de-DE" dirty="0"/>
          </a:p>
        </p:txBody>
      </p:sp>
    </p:spTree>
    <p:extLst>
      <p:ext uri="{BB962C8B-B14F-4D97-AF65-F5344CB8AC3E}">
        <p14:creationId xmlns:p14="http://schemas.microsoft.com/office/powerpoint/2010/main" val="2694888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5</a:t>
            </a:fld>
            <a:endParaRPr lang="de-DE" dirty="0"/>
          </a:p>
        </p:txBody>
      </p:sp>
    </p:spTree>
    <p:extLst>
      <p:ext uri="{BB962C8B-B14F-4D97-AF65-F5344CB8AC3E}">
        <p14:creationId xmlns:p14="http://schemas.microsoft.com/office/powerpoint/2010/main" val="3496009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6</a:t>
            </a:fld>
            <a:endParaRPr lang="de-DE" dirty="0"/>
          </a:p>
        </p:txBody>
      </p:sp>
    </p:spTree>
    <p:extLst>
      <p:ext uri="{BB962C8B-B14F-4D97-AF65-F5344CB8AC3E}">
        <p14:creationId xmlns:p14="http://schemas.microsoft.com/office/powerpoint/2010/main" val="2333764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7</a:t>
            </a:fld>
            <a:endParaRPr lang="de-DE" dirty="0"/>
          </a:p>
        </p:txBody>
      </p:sp>
    </p:spTree>
    <p:extLst>
      <p:ext uri="{BB962C8B-B14F-4D97-AF65-F5344CB8AC3E}">
        <p14:creationId xmlns:p14="http://schemas.microsoft.com/office/powerpoint/2010/main" val="27638969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8</a:t>
            </a:fld>
            <a:endParaRPr lang="de-DE" dirty="0"/>
          </a:p>
        </p:txBody>
      </p:sp>
    </p:spTree>
    <p:extLst>
      <p:ext uri="{BB962C8B-B14F-4D97-AF65-F5344CB8AC3E}">
        <p14:creationId xmlns:p14="http://schemas.microsoft.com/office/powerpoint/2010/main" val="1945811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9</a:t>
            </a:fld>
            <a:endParaRPr lang="de-DE" dirty="0"/>
          </a:p>
        </p:txBody>
      </p:sp>
    </p:spTree>
    <p:extLst>
      <p:ext uri="{BB962C8B-B14F-4D97-AF65-F5344CB8AC3E}">
        <p14:creationId xmlns:p14="http://schemas.microsoft.com/office/powerpoint/2010/main" val="171894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0</a:t>
            </a:fld>
            <a:endParaRPr lang="de-DE" dirty="0"/>
          </a:p>
        </p:txBody>
      </p:sp>
    </p:spTree>
    <p:extLst>
      <p:ext uri="{BB962C8B-B14F-4D97-AF65-F5344CB8AC3E}">
        <p14:creationId xmlns:p14="http://schemas.microsoft.com/office/powerpoint/2010/main" val="2593345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dirty="0"/>
          </a:p>
        </p:txBody>
      </p:sp>
    </p:spTree>
    <p:extLst>
      <p:ext uri="{BB962C8B-B14F-4D97-AF65-F5344CB8AC3E}">
        <p14:creationId xmlns:p14="http://schemas.microsoft.com/office/powerpoint/2010/main" val="1164313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1</a:t>
            </a:fld>
            <a:endParaRPr lang="de-DE" dirty="0"/>
          </a:p>
        </p:txBody>
      </p:sp>
    </p:spTree>
    <p:extLst>
      <p:ext uri="{BB962C8B-B14F-4D97-AF65-F5344CB8AC3E}">
        <p14:creationId xmlns:p14="http://schemas.microsoft.com/office/powerpoint/2010/main" val="4278245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2</a:t>
            </a:fld>
            <a:endParaRPr lang="de-DE" dirty="0"/>
          </a:p>
        </p:txBody>
      </p:sp>
    </p:spTree>
    <p:extLst>
      <p:ext uri="{BB962C8B-B14F-4D97-AF65-F5344CB8AC3E}">
        <p14:creationId xmlns:p14="http://schemas.microsoft.com/office/powerpoint/2010/main" val="1563364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3</a:t>
            </a:fld>
            <a:endParaRPr lang="de-DE" dirty="0"/>
          </a:p>
        </p:txBody>
      </p:sp>
    </p:spTree>
    <p:extLst>
      <p:ext uri="{BB962C8B-B14F-4D97-AF65-F5344CB8AC3E}">
        <p14:creationId xmlns:p14="http://schemas.microsoft.com/office/powerpoint/2010/main" val="11700747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4</a:t>
            </a:fld>
            <a:endParaRPr lang="de-DE" dirty="0"/>
          </a:p>
        </p:txBody>
      </p:sp>
    </p:spTree>
    <p:extLst>
      <p:ext uri="{BB962C8B-B14F-4D97-AF65-F5344CB8AC3E}">
        <p14:creationId xmlns:p14="http://schemas.microsoft.com/office/powerpoint/2010/main" val="2812792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5</a:t>
            </a:fld>
            <a:endParaRPr lang="de-DE" dirty="0"/>
          </a:p>
        </p:txBody>
      </p:sp>
    </p:spTree>
    <p:extLst>
      <p:ext uri="{BB962C8B-B14F-4D97-AF65-F5344CB8AC3E}">
        <p14:creationId xmlns:p14="http://schemas.microsoft.com/office/powerpoint/2010/main" val="1765022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6</a:t>
            </a:fld>
            <a:endParaRPr lang="de-DE" dirty="0"/>
          </a:p>
        </p:txBody>
      </p:sp>
    </p:spTree>
    <p:extLst>
      <p:ext uri="{BB962C8B-B14F-4D97-AF65-F5344CB8AC3E}">
        <p14:creationId xmlns:p14="http://schemas.microsoft.com/office/powerpoint/2010/main" val="3005357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7</a:t>
            </a:fld>
            <a:endParaRPr lang="de-DE" dirty="0"/>
          </a:p>
        </p:txBody>
      </p:sp>
    </p:spTree>
    <p:extLst>
      <p:ext uri="{BB962C8B-B14F-4D97-AF65-F5344CB8AC3E}">
        <p14:creationId xmlns:p14="http://schemas.microsoft.com/office/powerpoint/2010/main" val="52725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8</a:t>
            </a:fld>
            <a:endParaRPr lang="de-DE" dirty="0"/>
          </a:p>
        </p:txBody>
      </p:sp>
    </p:spTree>
    <p:extLst>
      <p:ext uri="{BB962C8B-B14F-4D97-AF65-F5344CB8AC3E}">
        <p14:creationId xmlns:p14="http://schemas.microsoft.com/office/powerpoint/2010/main" val="247327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29</a:t>
            </a:fld>
            <a:endParaRPr lang="de-DE" dirty="0"/>
          </a:p>
        </p:txBody>
      </p:sp>
    </p:spTree>
    <p:extLst>
      <p:ext uri="{BB962C8B-B14F-4D97-AF65-F5344CB8AC3E}">
        <p14:creationId xmlns:p14="http://schemas.microsoft.com/office/powerpoint/2010/main" val="19368683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0</a:t>
            </a:fld>
            <a:endParaRPr lang="de-DE" dirty="0"/>
          </a:p>
        </p:txBody>
      </p:sp>
    </p:spTree>
    <p:extLst>
      <p:ext uri="{BB962C8B-B14F-4D97-AF65-F5344CB8AC3E}">
        <p14:creationId xmlns:p14="http://schemas.microsoft.com/office/powerpoint/2010/main" val="1059130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4</a:t>
            </a:fld>
            <a:endParaRPr lang="de-DE" dirty="0"/>
          </a:p>
        </p:txBody>
      </p:sp>
    </p:spTree>
    <p:extLst>
      <p:ext uri="{BB962C8B-B14F-4D97-AF65-F5344CB8AC3E}">
        <p14:creationId xmlns:p14="http://schemas.microsoft.com/office/powerpoint/2010/main" val="10501476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1</a:t>
            </a:fld>
            <a:endParaRPr lang="de-DE" dirty="0"/>
          </a:p>
        </p:txBody>
      </p:sp>
    </p:spTree>
    <p:extLst>
      <p:ext uri="{BB962C8B-B14F-4D97-AF65-F5344CB8AC3E}">
        <p14:creationId xmlns:p14="http://schemas.microsoft.com/office/powerpoint/2010/main" val="2302759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2</a:t>
            </a:fld>
            <a:endParaRPr lang="de-DE" dirty="0"/>
          </a:p>
        </p:txBody>
      </p:sp>
    </p:spTree>
    <p:extLst>
      <p:ext uri="{BB962C8B-B14F-4D97-AF65-F5344CB8AC3E}">
        <p14:creationId xmlns:p14="http://schemas.microsoft.com/office/powerpoint/2010/main" val="13291136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3</a:t>
            </a:fld>
            <a:endParaRPr lang="de-DE" dirty="0"/>
          </a:p>
        </p:txBody>
      </p:sp>
    </p:spTree>
    <p:extLst>
      <p:ext uri="{BB962C8B-B14F-4D97-AF65-F5344CB8AC3E}">
        <p14:creationId xmlns:p14="http://schemas.microsoft.com/office/powerpoint/2010/main" val="4185683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4</a:t>
            </a:fld>
            <a:endParaRPr lang="de-DE" dirty="0"/>
          </a:p>
        </p:txBody>
      </p:sp>
    </p:spTree>
    <p:extLst>
      <p:ext uri="{BB962C8B-B14F-4D97-AF65-F5344CB8AC3E}">
        <p14:creationId xmlns:p14="http://schemas.microsoft.com/office/powerpoint/2010/main" val="1440295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35</a:t>
            </a:fld>
            <a:endParaRPr lang="de-DE" dirty="0"/>
          </a:p>
        </p:txBody>
      </p:sp>
    </p:spTree>
    <p:extLst>
      <p:ext uri="{BB962C8B-B14F-4D97-AF65-F5344CB8AC3E}">
        <p14:creationId xmlns:p14="http://schemas.microsoft.com/office/powerpoint/2010/main" val="3583934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5</a:t>
            </a:fld>
            <a:endParaRPr lang="de-DE" dirty="0"/>
          </a:p>
        </p:txBody>
      </p:sp>
    </p:spTree>
    <p:extLst>
      <p:ext uri="{BB962C8B-B14F-4D97-AF65-F5344CB8AC3E}">
        <p14:creationId xmlns:p14="http://schemas.microsoft.com/office/powerpoint/2010/main" val="116283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6</a:t>
            </a:fld>
            <a:endParaRPr lang="de-DE" dirty="0"/>
          </a:p>
        </p:txBody>
      </p:sp>
    </p:spTree>
    <p:extLst>
      <p:ext uri="{BB962C8B-B14F-4D97-AF65-F5344CB8AC3E}">
        <p14:creationId xmlns:p14="http://schemas.microsoft.com/office/powerpoint/2010/main" val="139565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7</a:t>
            </a:fld>
            <a:endParaRPr lang="de-DE" dirty="0"/>
          </a:p>
        </p:txBody>
      </p:sp>
    </p:spTree>
    <p:extLst>
      <p:ext uri="{BB962C8B-B14F-4D97-AF65-F5344CB8AC3E}">
        <p14:creationId xmlns:p14="http://schemas.microsoft.com/office/powerpoint/2010/main" val="2073529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8</a:t>
            </a:fld>
            <a:endParaRPr lang="de-DE" dirty="0"/>
          </a:p>
        </p:txBody>
      </p:sp>
    </p:spTree>
    <p:extLst>
      <p:ext uri="{BB962C8B-B14F-4D97-AF65-F5344CB8AC3E}">
        <p14:creationId xmlns:p14="http://schemas.microsoft.com/office/powerpoint/2010/main" val="2453393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9</a:t>
            </a:fld>
            <a:endParaRPr lang="de-DE" dirty="0"/>
          </a:p>
        </p:txBody>
      </p:sp>
    </p:spTree>
    <p:extLst>
      <p:ext uri="{BB962C8B-B14F-4D97-AF65-F5344CB8AC3E}">
        <p14:creationId xmlns:p14="http://schemas.microsoft.com/office/powerpoint/2010/main" val="3740781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AC91A1E-1F3C-4C24-BF60-687AD334015B}" type="slidenum">
              <a:rPr lang="de-DE" smtClean="0"/>
              <a:pPr/>
              <a:t>10</a:t>
            </a:fld>
            <a:endParaRPr lang="de-DE" dirty="0"/>
          </a:p>
        </p:txBody>
      </p:sp>
    </p:spTree>
    <p:extLst>
      <p:ext uri="{BB962C8B-B14F-4D97-AF65-F5344CB8AC3E}">
        <p14:creationId xmlns:p14="http://schemas.microsoft.com/office/powerpoint/2010/main" val="31396008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1.emf"/><Relationship Id="rId9" Type="http://schemas.openxmlformats.org/officeDocument/2006/relationships/image" Target="../media/image10.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5.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7.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1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bin"/><Relationship Id="rId7" Type="http://schemas.openxmlformats.org/officeDocument/2006/relationships/image" Target="../media/image8.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2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2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8.png"/><Relationship Id="rId3" Type="http://schemas.openxmlformats.org/officeDocument/2006/relationships/oleObject" Target="../embeddings/oleObject25.bin"/><Relationship Id="rId7" Type="http://schemas.openxmlformats.org/officeDocument/2006/relationships/image" Target="../media/image7.png"/><Relationship Id="rId12" Type="http://schemas.microsoft.com/office/2007/relationships/hdphoto" Target="../media/hdphoto1.wdp"/><Relationship Id="rId2" Type="http://schemas.openxmlformats.org/officeDocument/2006/relationships/slideMaster" Target="../slideMasters/slideMaster1.xml"/><Relationship Id="rId16" Type="http://schemas.openxmlformats.org/officeDocument/2006/relationships/image" Target="../media/image12.svg"/><Relationship Id="rId1" Type="http://schemas.openxmlformats.org/officeDocument/2006/relationships/tags" Target="../tags/tag26.xml"/><Relationship Id="rId6" Type="http://schemas.openxmlformats.org/officeDocument/2006/relationships/image" Target="../media/image14.svg"/><Relationship Id="rId11" Type="http://schemas.openxmlformats.org/officeDocument/2006/relationships/image" Target="../media/image17.png"/><Relationship Id="rId5" Type="http://schemas.openxmlformats.org/officeDocument/2006/relationships/image" Target="../media/image13.png"/><Relationship Id="rId1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2.wdp"/></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7.png"/><Relationship Id="rId3" Type="http://schemas.openxmlformats.org/officeDocument/2006/relationships/oleObject" Target="../embeddings/oleObject26.bin"/><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slideMaster" Target="../slideMasters/slideMaster1.xml"/><Relationship Id="rId16" Type="http://schemas.microsoft.com/office/2007/relationships/hdphoto" Target="../media/hdphoto2.wdp"/><Relationship Id="rId1" Type="http://schemas.openxmlformats.org/officeDocument/2006/relationships/tags" Target="../tags/tag27.xml"/><Relationship Id="rId6" Type="http://schemas.openxmlformats.org/officeDocument/2006/relationships/image" Target="../media/image14.svg"/><Relationship Id="rId11" Type="http://schemas.openxmlformats.org/officeDocument/2006/relationships/image" Target="../media/image11.png"/><Relationship Id="rId5" Type="http://schemas.openxmlformats.org/officeDocument/2006/relationships/image" Target="../media/image13.png"/><Relationship Id="rId15" Type="http://schemas.openxmlformats.org/officeDocument/2006/relationships/image" Target="../media/image18.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 Id="rId1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7.bin"/><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1.png"/><Relationship Id="rId11" Type="http://schemas.openxmlformats.org/officeDocument/2006/relationships/image" Target="../media/image10.svg"/><Relationship Id="rId5" Type="http://schemas.openxmlformats.org/officeDocument/2006/relationships/image" Target="../media/image6.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19273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11">
            <a:extLst>
              <a:ext uri="{FF2B5EF4-FFF2-40B4-BE49-F238E27FC236}">
                <a16:creationId xmlns:a16="http://schemas.microsoft.com/office/drawing/2014/main" id="{65990E43-2F8F-11CF-0E38-5A108135D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7937" r="29509" b="7936"/>
          <a:stretch/>
        </p:blipFill>
        <p:spPr bwMode="invGray">
          <a:xfrm>
            <a:off x="4914900" y="836032"/>
            <a:ext cx="7277100" cy="6021968"/>
          </a:xfrm>
          <a:prstGeom prst="rect">
            <a:avLst/>
          </a:prstGeom>
          <a:solidFill>
            <a:srgbClr val="000000"/>
          </a:solidFill>
        </p:spPr>
      </p:pic>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invGray">
          <a:xfrm>
            <a:off x="623888" y="1773238"/>
            <a:ext cx="6077854" cy="1661993"/>
          </a:xfrm>
        </p:spPr>
        <p:txBody>
          <a:bodyPr vert="horz" anchor="b">
            <a:noAutofit/>
          </a:bodyPr>
          <a:lstStyle>
            <a:lvl1pPr algn="l" rtl="0">
              <a:defRPr sz="5400">
                <a:solidFill>
                  <a:schemeClr val="bg1"/>
                </a:solidFill>
              </a:defRPr>
            </a:lvl1pPr>
          </a:lstStyle>
          <a:p>
            <a:r>
              <a:rPr lang="de-DE" dirty="0"/>
              <a:t>Mastertitelformat bearbeiten</a:t>
            </a:r>
          </a:p>
        </p:txBody>
      </p:sp>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grpSp>
        <p:nvGrpSpPr>
          <p:cNvPr id="53" name="Gruppieren 52">
            <a:extLst>
              <a:ext uri="{FF2B5EF4-FFF2-40B4-BE49-F238E27FC236}">
                <a16:creationId xmlns:a16="http://schemas.microsoft.com/office/drawing/2014/main" id="{85C1E315-C0D4-8B7B-87F8-FE0E3BE95C3A}"/>
              </a:ext>
            </a:extLst>
          </p:cNvPr>
          <p:cNvGrpSpPr>
            <a:grpSpLocks/>
          </p:cNvGrpSpPr>
          <p:nvPr userDrawn="1"/>
        </p:nvGrpSpPr>
        <p:grpSpPr>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6" name="Gruppieren 55">
            <a:extLst>
              <a:ext uri="{FF2B5EF4-FFF2-40B4-BE49-F238E27FC236}">
                <a16:creationId xmlns:a16="http://schemas.microsoft.com/office/drawing/2014/main" id="{9A868175-9915-01F8-DCA6-9DAE594CBB4B}"/>
              </a:ext>
            </a:extLst>
          </p:cNvPr>
          <p:cNvGrpSpPr/>
          <p:nvPr userDrawn="1"/>
        </p:nvGrpSpPr>
        <p:grpSpPr>
          <a:xfrm>
            <a:off x="-254000" y="296863"/>
            <a:ext cx="144000" cy="6300787"/>
            <a:chOff x="0" y="296863"/>
            <a:chExt cx="12192000" cy="6300787"/>
          </a:xfrm>
        </p:grpSpPr>
        <p:cxnSp>
          <p:nvCxnSpPr>
            <p:cNvPr id="57" name="Gerader Verbinder 56">
              <a:extLst>
                <a:ext uri="{FF2B5EF4-FFF2-40B4-BE49-F238E27FC236}">
                  <a16:creationId xmlns:a16="http://schemas.microsoft.com/office/drawing/2014/main" id="{68A36D37-B509-C7AD-30E8-18F710EC5B4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51D486B3-3E7A-03D0-5D05-041EB50E5F9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BA99C942-32DC-792B-2363-19F416A73DA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0C5EAB18-ECD2-6BE9-BDB2-D64A3025E4E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54C08A9F-795B-070B-33E1-B51B0462821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422B89C8-73DB-3105-F874-5F968F65A8B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4556301B-6B55-4823-9FE0-B983A585304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Lst>
          </p:cNvPr>
          <p:cNvGrpSpPr>
            <a:grpSpLocks/>
          </p:cNvGrpSpPr>
          <p:nvPr userDrawn="1"/>
        </p:nvGrpSpPr>
        <p:grpSpPr>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C552E523-B2D7-86E1-17A8-83ABCC3833ED}"/>
              </a:ext>
            </a:extLst>
          </p:cNvPr>
          <p:cNvGrpSpPr/>
          <p:nvPr userDrawn="1"/>
        </p:nvGrpSpPr>
        <p:grpSpPr>
          <a:xfrm>
            <a:off x="12301940" y="296863"/>
            <a:ext cx="144000" cy="6300787"/>
            <a:chOff x="0" y="296863"/>
            <a:chExt cx="12192000" cy="6300787"/>
          </a:xfrm>
        </p:grpSpPr>
        <p:cxnSp>
          <p:nvCxnSpPr>
            <p:cNvPr id="68" name="Gerader Verbinder 67">
              <a:extLst>
                <a:ext uri="{FF2B5EF4-FFF2-40B4-BE49-F238E27FC236}">
                  <a16:creationId xmlns:a16="http://schemas.microsoft.com/office/drawing/2014/main" id="{2730CAD0-F3F9-329A-B4A8-56DB9001627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7EA3AE0-581F-D908-1E91-EBB780CF2D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A560287-08F2-FFF6-8D9B-5EBC2BD11803}"/>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0321E72-5034-FF63-2226-B294E00256E6}"/>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8411683D-9F5B-0496-C6E6-58B584A8857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40542733-8FDD-F155-BDE9-92FBFC0FD9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F84EF36-CF22-9F68-9228-BEC94063F8C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r T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896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1" name="Gruppieren 10">
            <a:extLst>
              <a:ext uri="{FF2B5EF4-FFF2-40B4-BE49-F238E27FC236}">
                <a16:creationId xmlns:a16="http://schemas.microsoft.com/office/drawing/2014/main" id="{C3D6916C-8EED-AEAC-BA3E-A38CA4FE0E25}"/>
              </a:ext>
            </a:extLst>
          </p:cNvPr>
          <p:cNvGrpSpPr>
            <a:grpSpLocks/>
          </p:cNvGrpSpPr>
          <p:nvPr userDrawn="1"/>
        </p:nvGrpSpPr>
        <p:grpSpPr>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24D42B37-EE64-61A7-65B7-3001F98AC1E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6BB09658-1A14-A99E-31A2-4764C11BA93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83DA6DBB-FF45-4417-9DF8-7CEA6C3040FE}"/>
              </a:ext>
            </a:extLst>
          </p:cNvPr>
          <p:cNvGrpSpPr/>
          <p:nvPr userDrawn="1"/>
        </p:nvGrpSpPr>
        <p:grpSpPr>
          <a:xfrm>
            <a:off x="-254000" y="296863"/>
            <a:ext cx="144000" cy="6300787"/>
            <a:chOff x="0" y="296863"/>
            <a:chExt cx="12192000" cy="6300787"/>
          </a:xfrm>
        </p:grpSpPr>
        <p:cxnSp>
          <p:nvCxnSpPr>
            <p:cNvPr id="16" name="Gerader Verbinder 15">
              <a:extLst>
                <a:ext uri="{FF2B5EF4-FFF2-40B4-BE49-F238E27FC236}">
                  <a16:creationId xmlns:a16="http://schemas.microsoft.com/office/drawing/2014/main" id="{67AA0CC5-D856-3901-FD82-0520DD11EBC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102322D9-D7E4-B5B9-D32D-6784F8A9D28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1830A1CD-F958-A3AB-CA18-9450FD9BF91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DBA31975-6DC9-FD1D-CAFC-3F0C74E5F84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44D9430-2594-1164-C37F-9E321B0B0DF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342BEDA-FA41-4C0D-690D-DBC5A635415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00F78B-F90E-DB94-B7D8-2D5C67CADB0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AE01946A-7663-2531-7962-087CABFD92F3}"/>
              </a:ext>
            </a:extLst>
          </p:cNvPr>
          <p:cNvGrpSpPr>
            <a:grpSpLocks/>
          </p:cNvGrpSpPr>
          <p:nvPr userDrawn="1"/>
        </p:nvGrpSpPr>
        <p:grpSpPr>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0DC1C44F-CC21-9740-C9D9-B91DFBF69316}"/>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09EE142-9367-7686-66E1-6ACBF1A1066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9135C5A9-441D-2026-32AE-1FFCE147005C}"/>
              </a:ext>
            </a:extLst>
          </p:cNvPr>
          <p:cNvGrpSpPr/>
          <p:nvPr userDrawn="1"/>
        </p:nvGrpSpPr>
        <p:grpSpPr>
          <a:xfrm>
            <a:off x="12301940" y="296863"/>
            <a:ext cx="144000" cy="6300787"/>
            <a:chOff x="0" y="296863"/>
            <a:chExt cx="12192000" cy="6300787"/>
          </a:xfrm>
        </p:grpSpPr>
        <p:cxnSp>
          <p:nvCxnSpPr>
            <p:cNvPr id="27" name="Gerader Verbinder 26">
              <a:extLst>
                <a:ext uri="{FF2B5EF4-FFF2-40B4-BE49-F238E27FC236}">
                  <a16:creationId xmlns:a16="http://schemas.microsoft.com/office/drawing/2014/main" id="{069E3A98-EB8E-7F5C-0DB3-EBC1931F9F1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EF933175-E227-2129-1655-F88C45EC70F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DA3AE5F-3CE3-3430-9281-53145D7A362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1E138564-FBA0-ECE6-7259-6CD776BDD80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F4D81D5-E9AE-6E4C-139A-81E610D035DA}"/>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E66DBD2C-641A-4377-FB31-0FE0C17B317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6F8B0FF-3161-E9C3-9C0D-1D7EA407CFB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769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1996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20462" y="1773239"/>
            <a:ext cx="5436575"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67821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6420462" y="1773239"/>
            <a:ext cx="5436575"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4" name="Grafik 3">
            <a:extLst>
              <a:ext uri="{FF2B5EF4-FFF2-40B4-BE49-F238E27FC236}">
                <a16:creationId xmlns:a16="http://schemas.microsoft.com/office/drawing/2014/main" id="{D142BFD1-E410-E699-2055-C00FDB2E296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4E0AFDDE-5E02-BB9F-03E3-B5D1283EC27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4" name="Gruppieren 13">
            <a:extLst>
              <a:ext uri="{FF2B5EF4-FFF2-40B4-BE49-F238E27FC236}">
                <a16:creationId xmlns:a16="http://schemas.microsoft.com/office/drawing/2014/main" id="{B295C790-41E4-6D7E-B891-72C1930B98D3}"/>
              </a:ext>
            </a:extLst>
          </p:cNvPr>
          <p:cNvGrpSpPr>
            <a:grpSpLocks/>
          </p:cNvGrpSpPr>
          <p:nvPr userDrawn="1"/>
        </p:nvGrpSpPr>
        <p:grpSpPr>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5FE3BF88-1E45-AFC1-5598-22F0BE64DE6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8E923145-1923-AB46-42FC-AC1D83BA082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22653739-92C5-13B0-39BA-41D6DF013F09}"/>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7CAA46AA-C787-5157-B14B-6BA9E894FB4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883EC38B-B561-9730-8934-9767361AF91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66847A44-B288-AD26-72BC-9FDBFA21FD8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10B8E7E1-3CAC-A88B-7D76-7C6C31C8952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35C56513-FF4D-2BB1-784F-19E27FD7661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8F5BF9D-8531-A809-24DB-235AFACD37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33F87B5-EE3A-2464-0823-ACFB933284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613C729A-7281-6A67-D2BA-DD566D0C7823}"/>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88D8D7E4-E9B4-7BAA-E36B-434F52534F3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9F8ABAA-1E79-A83F-50B2-8E484674F9C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FA82FFE9-9984-640A-9BA4-EBB707CE975B}"/>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3366B17-0E1C-921D-6C48-FD865C4E8EE2}"/>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C75A1E80-7D68-5E9B-1DFC-D1ED4A59B04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F33A23D-06A5-FF27-DDDD-1E73BE9492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06B5B560-CF4F-E689-82A0-83311115E71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5BBD460-58B0-6822-5760-9F1CDB01F618}"/>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2A18ABF-9570-E7C5-0432-35410445A37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D3084F6-BDE9-38E0-2A99-AA3BA61811E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09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Spalte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7698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1773239"/>
            <a:ext cx="3504383"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68496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 Spalte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0114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1773239"/>
            <a:ext cx="3504383"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6" name="Grafik 5">
            <a:extLst>
              <a:ext uri="{FF2B5EF4-FFF2-40B4-BE49-F238E27FC236}">
                <a16:creationId xmlns:a16="http://schemas.microsoft.com/office/drawing/2014/main" id="{DF68E355-1FCD-2BF3-BE4A-AC74A270A19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1337414-BCDD-9BB6-A447-73B08ED8D4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5" name="Gruppieren 14">
            <a:extLst>
              <a:ext uri="{FF2B5EF4-FFF2-40B4-BE49-F238E27FC236}">
                <a16:creationId xmlns:a16="http://schemas.microsoft.com/office/drawing/2014/main" id="{9184E965-56ED-F300-03EA-F1C7D0A1429B}"/>
              </a:ext>
            </a:extLst>
          </p:cNvPr>
          <p:cNvGrpSpPr>
            <a:grpSpLocks/>
          </p:cNvGrpSpPr>
          <p:nvPr userDrawn="1"/>
        </p:nvGrpSpPr>
        <p:grpSpPr>
          <a:xfrm>
            <a:off x="623888" y="-254000"/>
            <a:ext cx="11233150" cy="144000"/>
            <a:chOff x="623888" y="0"/>
            <a:chExt cx="11233150" cy="6858000"/>
          </a:xfrm>
        </p:grpSpPr>
        <p:cxnSp>
          <p:nvCxnSpPr>
            <p:cNvPr id="16" name="Gerader Verbinder 15">
              <a:extLst>
                <a:ext uri="{FF2B5EF4-FFF2-40B4-BE49-F238E27FC236}">
                  <a16:creationId xmlns:a16="http://schemas.microsoft.com/office/drawing/2014/main" id="{D0E61E11-E94D-8AB3-A5C5-0BA2A1EF08DE}"/>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E40A7CD-6DBD-C0BF-7C97-BA7231AD2B5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1A9A5DEB-47DF-B187-9118-88EB6DFB9467}"/>
              </a:ext>
            </a:extLst>
          </p:cNvPr>
          <p:cNvGrpSpPr/>
          <p:nvPr userDrawn="1"/>
        </p:nvGrpSpPr>
        <p:grpSpPr>
          <a:xfrm>
            <a:off x="-254000" y="296863"/>
            <a:ext cx="144000" cy="6300787"/>
            <a:chOff x="0" y="296863"/>
            <a:chExt cx="12192000" cy="6300787"/>
          </a:xfrm>
        </p:grpSpPr>
        <p:cxnSp>
          <p:nvCxnSpPr>
            <p:cNvPr id="19" name="Gerader Verbinder 18">
              <a:extLst>
                <a:ext uri="{FF2B5EF4-FFF2-40B4-BE49-F238E27FC236}">
                  <a16:creationId xmlns:a16="http://schemas.microsoft.com/office/drawing/2014/main" id="{242B5623-91E0-EB61-E5C3-CAA4DEACACC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4DD6BFE-23D3-D81C-FECB-86DEC826772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880FAB-3D1A-26F7-ADF3-B5192286EA4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31C9760-1443-A26B-DBFA-2DE35CBCFA6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6B09BE6C-6A4F-29CE-CCBD-51E6EA28BF2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644E52E-880F-8E58-3E0E-0BDBAD00E57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A635A50-14BB-F754-95E5-8A0762D538C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281ED87B-1D74-53C7-D24D-EB324E189902}"/>
              </a:ext>
            </a:extLst>
          </p:cNvPr>
          <p:cNvGrpSpPr>
            <a:grpSpLocks/>
          </p:cNvGrpSpPr>
          <p:nvPr userDrawn="1"/>
        </p:nvGrpSpPr>
        <p:grpSpPr>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B71A68FB-8653-405C-1AD4-D312BF3AE09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35D33FA2-8843-8B7B-9391-5F1379CB5C6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8F4B8EF5-734D-030C-E421-3399DE6B4FBC}"/>
              </a:ext>
            </a:extLst>
          </p:cNvPr>
          <p:cNvGrpSpPr/>
          <p:nvPr userDrawn="1"/>
        </p:nvGrpSpPr>
        <p:grpSpPr>
          <a:xfrm>
            <a:off x="12301940" y="296863"/>
            <a:ext cx="144000" cy="6300787"/>
            <a:chOff x="0" y="296863"/>
            <a:chExt cx="12192000" cy="6300787"/>
          </a:xfrm>
        </p:grpSpPr>
        <p:cxnSp>
          <p:nvCxnSpPr>
            <p:cNvPr id="30" name="Gerader Verbinder 29">
              <a:extLst>
                <a:ext uri="{FF2B5EF4-FFF2-40B4-BE49-F238E27FC236}">
                  <a16:creationId xmlns:a16="http://schemas.microsoft.com/office/drawing/2014/main" id="{D50E3B43-CA61-3C87-17FC-E52C30CA806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882A5AD6-385A-8E85-FCB4-FEE4303DAD8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93B89BA-E2EE-D3E9-F945-0FA9D41E05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1C0D41F-51A5-59C2-45B2-59A0B05BB4F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9EF83A4-0EAF-9353-AA7C-E7D638B67F2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1AF40540-D19B-6406-D959-4C05B9F633FC}"/>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F9BE95E-3B9E-293D-6C38-D1998D59874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6397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und Bild weiß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50444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847546"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847546" y="1773239"/>
            <a:ext cx="7009492"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847546" y="6443762"/>
            <a:ext cx="4924425"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803624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1">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31092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6"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6"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4847546" y="1773239"/>
            <a:ext cx="7009492"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Bildplatzhalter 15">
            <a:extLst>
              <a:ext uri="{FF2B5EF4-FFF2-40B4-BE49-F238E27FC236}">
                <a16:creationId xmlns:a16="http://schemas.microsoft.com/office/drawing/2014/main" id="{DB2C9B5E-3EC7-F828-E8B1-84C1985BB9AB}"/>
              </a:ext>
            </a:extLst>
          </p:cNvPr>
          <p:cNvSpPr>
            <a:spLocks noGrp="1"/>
          </p:cNvSpPr>
          <p:nvPr>
            <p:ph type="pic" sz="quarter" idx="14"/>
          </p:nvPr>
        </p:nvSpPr>
        <p:spPr bwMode="invGray">
          <a:xfrm>
            <a:off x="0" y="1"/>
            <a:ext cx="4204485" cy="6857999"/>
          </a:xfrm>
          <a:solidFill>
            <a:schemeClr val="bg1">
              <a:lumMod val="95000"/>
            </a:schemeClr>
          </a:solidFill>
        </p:spPr>
        <p:txBody>
          <a:bodyPr/>
          <a:lstStyle>
            <a:lvl1pPr rtl="0">
              <a:defRPr>
                <a:solidFill>
                  <a:schemeClr val="tx1"/>
                </a:solidFill>
              </a:defRPr>
            </a:lvl1pPr>
          </a:lstStyle>
          <a:p>
            <a:r>
              <a:rPr lang="de-DE" dirty="0"/>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4847546"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pic>
        <p:nvPicPr>
          <p:cNvPr id="4" name="Grafik 3">
            <a:extLst>
              <a:ext uri="{FF2B5EF4-FFF2-40B4-BE49-F238E27FC236}">
                <a16:creationId xmlns:a16="http://schemas.microsoft.com/office/drawing/2014/main" id="{9D7FB697-5111-22D8-F162-8ADED7D6127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6EBBC9CC-BF17-1CCB-3189-91CC51E6198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DA0CA13B-AAD1-BF74-1452-CBD6243791E4}"/>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7D1F51D7-AC42-0AB3-06E2-323E38F840A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90A33CF-6643-D1CF-E451-6814316F8B5A}"/>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56BCD3A1-15E6-7AAC-67CE-7FA600DCF0A3}"/>
              </a:ext>
            </a:extLst>
          </p:cNvPr>
          <p:cNvGrpSpPr/>
          <p:nvPr userDrawn="1"/>
        </p:nvGrpSpPr>
        <p:grpSpPr>
          <a:xfrm>
            <a:off x="-254000" y="296863"/>
            <a:ext cx="144000" cy="6300787"/>
            <a:chOff x="0" y="296863"/>
            <a:chExt cx="12192000" cy="6300787"/>
          </a:xfrm>
        </p:grpSpPr>
        <p:cxnSp>
          <p:nvCxnSpPr>
            <p:cNvPr id="18" name="Gerader Verbinder 17">
              <a:extLst>
                <a:ext uri="{FF2B5EF4-FFF2-40B4-BE49-F238E27FC236}">
                  <a16:creationId xmlns:a16="http://schemas.microsoft.com/office/drawing/2014/main" id="{1E9AA70E-2CEA-CA96-2747-999488FF8A15}"/>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AAD5248-4D99-A816-2232-FDC00D077FDD}"/>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DF664CC9-A3FA-A4DB-25BA-5048DBA9A7B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5B7629A-5037-D779-9030-FD6BF2F19F0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8C7C4ABD-3A44-B85F-2B11-B04985C75F0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5D15B5CC-BB6F-A222-A2C9-821EA009321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DC56ED2-0DD1-10B9-9492-DF30CF1DEBA6}"/>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39BAEB69-8901-B0E7-3F36-8765BE80753A}"/>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B6DC914B-1396-6A9A-005B-24A9C92268A7}"/>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0A8EF39-7F1A-89B4-D27C-064083CA6FB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AC86A578-BCB4-F2A2-1E3B-912FFF821BC3}"/>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0076F6F3-F92E-0BB8-E826-4349EDF8009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56A31C8-DD08-A03D-AD00-E802FDEB2EE3}"/>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58E64358-50C0-9EBF-049F-9F291567AB5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A24B5DE-A328-B2BB-184D-CB046EC72D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6968F706-4B72-C845-1E6C-FCDFDF4C560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B9697CD-71C6-1635-0AF1-F84374F1C8B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DF305916-473D-E52E-AA84-137B7C405E4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7707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und Bild weiß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5501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071708" cy="738664"/>
          </a:xfrm>
        </p:spPr>
        <p:txBody>
          <a:bodyPr vert="horz"/>
          <a:lstStyle>
            <a:lvl1pPr rtl="0">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5071708" cy="4356100"/>
          </a:xfrm>
        </p:spPr>
        <p:txBody>
          <a:bodyPr/>
          <a:lstStyle>
            <a:lvl1pPr rtl="0">
              <a:defRPr/>
            </a:lvl1pPr>
            <a:lvl2pPr rtl="0">
              <a:defRPr/>
            </a:lvl2pPr>
            <a:lvl3pPr rtl="0">
              <a:defRPr/>
            </a:lvl3pPr>
            <a:lvl4pPr rtl="0">
              <a:defRPr/>
            </a:lvl4pPr>
            <a:lvl5pPr rtl="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5" y="6443762"/>
            <a:ext cx="4524022" cy="153888"/>
          </a:xfrm>
        </p:spPr>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3121375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und Bild schwarz 2">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92556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094CA0CE-5240-E148-780C-A26D83DA738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000F53B6-9DD4-A944-275B-A51E5E570DF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sp>
        <p:nvSpPr>
          <p:cNvPr id="24" name="Bildplatzhalter 23">
            <a:extLst>
              <a:ext uri="{FF2B5EF4-FFF2-40B4-BE49-F238E27FC236}">
                <a16:creationId xmlns:a16="http://schemas.microsoft.com/office/drawing/2014/main" id="{CBE9C897-F16D-C4A6-C49E-4B0C11009206}"/>
              </a:ext>
            </a:extLst>
          </p:cNvPr>
          <p:cNvSpPr>
            <a:spLocks noGrp="1"/>
          </p:cNvSpPr>
          <p:nvPr>
            <p:ph type="pic" sz="quarter" idx="14"/>
          </p:nvPr>
        </p:nvSpPr>
        <p:spPr bwMode="invGray">
          <a:xfrm>
            <a:off x="6095999" y="1"/>
            <a:ext cx="6096000" cy="6857999"/>
          </a:xfrm>
          <a:custGeom>
            <a:avLst/>
            <a:gdLst>
              <a:gd name="connsiteX0" fmla="*/ 5311828 w 6096000"/>
              <a:gd name="connsiteY0" fmla="*/ 6539628 h 6857999"/>
              <a:gd name="connsiteX1" fmla="*/ 5311828 w 6096000"/>
              <a:gd name="connsiteY1" fmla="*/ 6598965 h 6857999"/>
              <a:gd name="connsiteX2" fmla="*/ 5355845 w 6096000"/>
              <a:gd name="connsiteY2" fmla="*/ 6598965 h 6857999"/>
              <a:gd name="connsiteX3" fmla="*/ 5355845 w 6096000"/>
              <a:gd name="connsiteY3" fmla="*/ 6539628 h 6857999"/>
              <a:gd name="connsiteX4" fmla="*/ 5311877 w 6096000"/>
              <a:gd name="connsiteY4" fmla="*/ 6433666 h 6857999"/>
              <a:gd name="connsiteX5" fmla="*/ 5311877 w 6096000"/>
              <a:gd name="connsiteY5" fmla="*/ 6485013 h 6857999"/>
              <a:gd name="connsiteX6" fmla="*/ 5355845 w 6096000"/>
              <a:gd name="connsiteY6" fmla="*/ 6485013 h 6857999"/>
              <a:gd name="connsiteX7" fmla="*/ 5355845 w 6096000"/>
              <a:gd name="connsiteY7" fmla="*/ 6433666 h 6857999"/>
              <a:gd name="connsiteX8" fmla="*/ 5051024 w 6096000"/>
              <a:gd name="connsiteY8" fmla="*/ 6433522 h 6857999"/>
              <a:gd name="connsiteX9" fmla="*/ 5051024 w 6096000"/>
              <a:gd name="connsiteY9" fmla="*/ 6599025 h 6857999"/>
              <a:gd name="connsiteX10" fmla="*/ 5095004 w 6096000"/>
              <a:gd name="connsiteY10" fmla="*/ 6599025 h 6857999"/>
              <a:gd name="connsiteX11" fmla="*/ 5095004 w 6096000"/>
              <a:gd name="connsiteY11" fmla="*/ 6433522 h 6857999"/>
              <a:gd name="connsiteX12" fmla="*/ 5235705 w 6096000"/>
              <a:gd name="connsiteY12" fmla="*/ 6430879 h 6857999"/>
              <a:gd name="connsiteX13" fmla="*/ 5177713 w 6096000"/>
              <a:gd name="connsiteY13" fmla="*/ 6431143 h 6857999"/>
              <a:gd name="connsiteX14" fmla="*/ 5127592 w 6096000"/>
              <a:gd name="connsiteY14" fmla="*/ 6476000 h 6857999"/>
              <a:gd name="connsiteX15" fmla="*/ 5123134 w 6096000"/>
              <a:gd name="connsiteY15" fmla="*/ 6511870 h 6857999"/>
              <a:gd name="connsiteX16" fmla="*/ 5127244 w 6096000"/>
              <a:gd name="connsiteY16" fmla="*/ 6558998 h 6857999"/>
              <a:gd name="connsiteX17" fmla="*/ 5167319 w 6096000"/>
              <a:gd name="connsiteY17" fmla="*/ 6598340 h 6857999"/>
              <a:gd name="connsiteX18" fmla="*/ 5202839 w 6096000"/>
              <a:gd name="connsiteY18" fmla="*/ 6600803 h 6857999"/>
              <a:gd name="connsiteX19" fmla="*/ 5231475 w 6096000"/>
              <a:gd name="connsiteY19" fmla="*/ 6597210 h 6857999"/>
              <a:gd name="connsiteX20" fmla="*/ 5230441 w 6096000"/>
              <a:gd name="connsiteY20" fmla="*/ 6611150 h 6857999"/>
              <a:gd name="connsiteX21" fmla="*/ 5219110 w 6096000"/>
              <a:gd name="connsiteY21" fmla="*/ 6626351 h 6857999"/>
              <a:gd name="connsiteX22" fmla="*/ 5208931 w 6096000"/>
              <a:gd name="connsiteY22" fmla="*/ 6630267 h 6857999"/>
              <a:gd name="connsiteX23" fmla="*/ 5161899 w 6096000"/>
              <a:gd name="connsiteY23" fmla="*/ 6638415 h 6857999"/>
              <a:gd name="connsiteX24" fmla="*/ 5146747 w 6096000"/>
              <a:gd name="connsiteY24" fmla="*/ 6640218 h 6857999"/>
              <a:gd name="connsiteX25" fmla="*/ 5149114 w 6096000"/>
              <a:gd name="connsiteY25" fmla="*/ 6676411 h 6857999"/>
              <a:gd name="connsiteX26" fmla="*/ 5152574 w 6096000"/>
              <a:gd name="connsiteY26" fmla="*/ 6676411 h 6857999"/>
              <a:gd name="connsiteX27" fmla="*/ 5155026 w 6096000"/>
              <a:gd name="connsiteY27" fmla="*/ 6675931 h 6857999"/>
              <a:gd name="connsiteX28" fmla="*/ 5209003 w 6096000"/>
              <a:gd name="connsiteY28" fmla="*/ 6669453 h 6857999"/>
              <a:gd name="connsiteX29" fmla="*/ 5245570 w 6096000"/>
              <a:gd name="connsiteY29" fmla="*/ 6658579 h 6857999"/>
              <a:gd name="connsiteX30" fmla="*/ 5272150 w 6096000"/>
              <a:gd name="connsiteY30" fmla="*/ 6627936 h 6857999"/>
              <a:gd name="connsiteX31" fmla="*/ 5275767 w 6096000"/>
              <a:gd name="connsiteY31" fmla="*/ 6599193 h 6857999"/>
              <a:gd name="connsiteX32" fmla="*/ 5276392 w 6096000"/>
              <a:gd name="connsiteY32" fmla="*/ 6542223 h 6857999"/>
              <a:gd name="connsiteX33" fmla="*/ 5276212 w 6096000"/>
              <a:gd name="connsiteY33" fmla="*/ 6539628 h 6857999"/>
              <a:gd name="connsiteX34" fmla="*/ 5232076 w 6096000"/>
              <a:gd name="connsiteY34" fmla="*/ 6539628 h 6857999"/>
              <a:gd name="connsiteX35" fmla="*/ 5232076 w 6096000"/>
              <a:gd name="connsiteY35" fmla="*/ 6559791 h 6857999"/>
              <a:gd name="connsiteX36" fmla="*/ 5230237 w 6096000"/>
              <a:gd name="connsiteY36" fmla="*/ 6560500 h 6857999"/>
              <a:gd name="connsiteX37" fmla="*/ 5195077 w 6096000"/>
              <a:gd name="connsiteY37" fmla="*/ 6563336 h 6857999"/>
              <a:gd name="connsiteX38" fmla="*/ 5170672 w 6096000"/>
              <a:gd name="connsiteY38" fmla="*/ 6543653 h 6857999"/>
              <a:gd name="connsiteX39" fmla="*/ 5168184 w 6096000"/>
              <a:gd name="connsiteY39" fmla="*/ 6522024 h 6857999"/>
              <a:gd name="connsiteX40" fmla="*/ 5170467 w 6096000"/>
              <a:gd name="connsiteY40" fmla="*/ 6488534 h 6857999"/>
              <a:gd name="connsiteX41" fmla="*/ 5190523 w 6096000"/>
              <a:gd name="connsiteY41" fmla="*/ 6467757 h 6857999"/>
              <a:gd name="connsiteX42" fmla="*/ 5230285 w 6096000"/>
              <a:gd name="connsiteY42" fmla="*/ 6468418 h 6857999"/>
              <a:gd name="connsiteX43" fmla="*/ 5232027 w 6096000"/>
              <a:gd name="connsiteY43" fmla="*/ 6471098 h 6857999"/>
              <a:gd name="connsiteX44" fmla="*/ 5232027 w 6096000"/>
              <a:gd name="connsiteY44" fmla="*/ 6484928 h 6857999"/>
              <a:gd name="connsiteX45" fmla="*/ 5276416 w 6096000"/>
              <a:gd name="connsiteY45" fmla="*/ 6484928 h 6857999"/>
              <a:gd name="connsiteX46" fmla="*/ 5276416 w 6096000"/>
              <a:gd name="connsiteY46" fmla="*/ 6481852 h 6857999"/>
              <a:gd name="connsiteX47" fmla="*/ 5276476 w 6096000"/>
              <a:gd name="connsiteY47" fmla="*/ 6442991 h 6857999"/>
              <a:gd name="connsiteX48" fmla="*/ 5276476 w 6096000"/>
              <a:gd name="connsiteY48" fmla="*/ 6442979 h 6857999"/>
              <a:gd name="connsiteX49" fmla="*/ 5273616 w 6096000"/>
              <a:gd name="connsiteY49" fmla="*/ 6438893 h 6857999"/>
              <a:gd name="connsiteX50" fmla="*/ 5235705 w 6096000"/>
              <a:gd name="connsiteY50" fmla="*/ 6430879 h 6857999"/>
              <a:gd name="connsiteX51" fmla="*/ 5606364 w 6096000"/>
              <a:gd name="connsiteY51" fmla="*/ 6430085 h 6857999"/>
              <a:gd name="connsiteX52" fmla="*/ 5525517 w 6096000"/>
              <a:gd name="connsiteY52" fmla="*/ 6433859 h 6857999"/>
              <a:gd name="connsiteX53" fmla="*/ 5523186 w 6096000"/>
              <a:gd name="connsiteY53" fmla="*/ 6436851 h 6857999"/>
              <a:gd name="connsiteX54" fmla="*/ 5525265 w 6096000"/>
              <a:gd name="connsiteY54" fmla="*/ 6460055 h 6857999"/>
              <a:gd name="connsiteX55" fmla="*/ 5526046 w 6096000"/>
              <a:gd name="connsiteY55" fmla="*/ 6468022 h 6857999"/>
              <a:gd name="connsiteX56" fmla="*/ 5529267 w 6096000"/>
              <a:gd name="connsiteY56" fmla="*/ 6467865 h 6857999"/>
              <a:gd name="connsiteX57" fmla="*/ 5575843 w 6096000"/>
              <a:gd name="connsiteY57" fmla="*/ 6466147 h 6857999"/>
              <a:gd name="connsiteX58" fmla="*/ 5595622 w 6096000"/>
              <a:gd name="connsiteY58" fmla="*/ 6469211 h 6857999"/>
              <a:gd name="connsiteX59" fmla="*/ 5604069 w 6096000"/>
              <a:gd name="connsiteY59" fmla="*/ 6479101 h 6857999"/>
              <a:gd name="connsiteX60" fmla="*/ 5605571 w 6096000"/>
              <a:gd name="connsiteY60" fmla="*/ 6498699 h 6857999"/>
              <a:gd name="connsiteX61" fmla="*/ 5587474 w 6096000"/>
              <a:gd name="connsiteY61" fmla="*/ 6498687 h 6857999"/>
              <a:gd name="connsiteX62" fmla="*/ 5540262 w 6096000"/>
              <a:gd name="connsiteY62" fmla="*/ 6502533 h 6857999"/>
              <a:gd name="connsiteX63" fmla="*/ 5510197 w 6096000"/>
              <a:gd name="connsiteY63" fmla="*/ 6526854 h 6857999"/>
              <a:gd name="connsiteX64" fmla="*/ 5506532 w 6096000"/>
              <a:gd name="connsiteY64" fmla="*/ 6547967 h 6857999"/>
              <a:gd name="connsiteX65" fmla="*/ 5507264 w 6096000"/>
              <a:gd name="connsiteY65" fmla="*/ 6563624 h 6857999"/>
              <a:gd name="connsiteX66" fmla="*/ 5553324 w 6096000"/>
              <a:gd name="connsiteY66" fmla="*/ 6563624 h 6857999"/>
              <a:gd name="connsiteX67" fmla="*/ 5548866 w 6096000"/>
              <a:gd name="connsiteY67" fmla="*/ 6549276 h 6857999"/>
              <a:gd name="connsiteX68" fmla="*/ 5563153 w 6096000"/>
              <a:gd name="connsiteY68" fmla="*/ 6529750 h 6857999"/>
              <a:gd name="connsiteX69" fmla="*/ 5567696 w 6096000"/>
              <a:gd name="connsiteY69" fmla="*/ 6528993 h 6857999"/>
              <a:gd name="connsiteX70" fmla="*/ 5597605 w 6096000"/>
              <a:gd name="connsiteY70" fmla="*/ 6528500 h 6857999"/>
              <a:gd name="connsiteX71" fmla="*/ 5605151 w 6096000"/>
              <a:gd name="connsiteY71" fmla="*/ 6528873 h 6857999"/>
              <a:gd name="connsiteX72" fmla="*/ 5605151 w 6096000"/>
              <a:gd name="connsiteY72" fmla="*/ 6563637 h 6857999"/>
              <a:gd name="connsiteX73" fmla="*/ 5648867 w 6096000"/>
              <a:gd name="connsiteY73" fmla="*/ 6563637 h 6857999"/>
              <a:gd name="connsiteX74" fmla="*/ 5648867 w 6096000"/>
              <a:gd name="connsiteY74" fmla="*/ 6560007 h 6857999"/>
              <a:gd name="connsiteX75" fmla="*/ 5648782 w 6096000"/>
              <a:gd name="connsiteY75" fmla="*/ 6483150 h 6857999"/>
              <a:gd name="connsiteX76" fmla="*/ 5647016 w 6096000"/>
              <a:gd name="connsiteY76" fmla="*/ 6463707 h 6857999"/>
              <a:gd name="connsiteX77" fmla="*/ 5647028 w 6096000"/>
              <a:gd name="connsiteY77" fmla="*/ 6463720 h 6857999"/>
              <a:gd name="connsiteX78" fmla="*/ 5619330 w 6096000"/>
              <a:gd name="connsiteY78" fmla="*/ 6432633 h 6857999"/>
              <a:gd name="connsiteX79" fmla="*/ 5606364 w 6096000"/>
              <a:gd name="connsiteY79" fmla="*/ 6430085 h 6857999"/>
              <a:gd name="connsiteX80" fmla="*/ 5406110 w 6096000"/>
              <a:gd name="connsiteY80" fmla="*/ 6388965 h 6857999"/>
              <a:gd name="connsiteX81" fmla="*/ 5404800 w 6096000"/>
              <a:gd name="connsiteY81" fmla="*/ 6433378 h 6857999"/>
              <a:gd name="connsiteX82" fmla="*/ 5378712 w 6096000"/>
              <a:gd name="connsiteY82" fmla="*/ 6435733 h 6857999"/>
              <a:gd name="connsiteX83" fmla="*/ 5378712 w 6096000"/>
              <a:gd name="connsiteY83" fmla="*/ 6472828 h 6857999"/>
              <a:gd name="connsiteX84" fmla="*/ 5403887 w 6096000"/>
              <a:gd name="connsiteY84" fmla="*/ 6472828 h 6857999"/>
              <a:gd name="connsiteX85" fmla="*/ 5403887 w 6096000"/>
              <a:gd name="connsiteY85" fmla="*/ 6476325 h 6857999"/>
              <a:gd name="connsiteX86" fmla="*/ 5403971 w 6096000"/>
              <a:gd name="connsiteY86" fmla="*/ 6536780 h 6857999"/>
              <a:gd name="connsiteX87" fmla="*/ 5405750 w 6096000"/>
              <a:gd name="connsiteY87" fmla="*/ 6561125 h 6857999"/>
              <a:gd name="connsiteX88" fmla="*/ 5436884 w 6096000"/>
              <a:gd name="connsiteY88" fmla="*/ 6596609 h 6857999"/>
              <a:gd name="connsiteX89" fmla="*/ 5473066 w 6096000"/>
              <a:gd name="connsiteY89" fmla="*/ 6601248 h 6857999"/>
              <a:gd name="connsiteX90" fmla="*/ 5488567 w 6096000"/>
              <a:gd name="connsiteY90" fmla="*/ 6601284 h 6857999"/>
              <a:gd name="connsiteX91" fmla="*/ 5490525 w 6096000"/>
              <a:gd name="connsiteY91" fmla="*/ 6567698 h 6857999"/>
              <a:gd name="connsiteX92" fmla="*/ 5485286 w 6096000"/>
              <a:gd name="connsiteY92" fmla="*/ 6567013 h 6857999"/>
              <a:gd name="connsiteX93" fmla="*/ 5460905 w 6096000"/>
              <a:gd name="connsiteY93" fmla="*/ 6561678 h 6857999"/>
              <a:gd name="connsiteX94" fmla="*/ 5460917 w 6096000"/>
              <a:gd name="connsiteY94" fmla="*/ 6561678 h 6857999"/>
              <a:gd name="connsiteX95" fmla="*/ 5450270 w 6096000"/>
              <a:gd name="connsiteY95" fmla="*/ 6550118 h 6857999"/>
              <a:gd name="connsiteX96" fmla="*/ 5448456 w 6096000"/>
              <a:gd name="connsiteY96" fmla="*/ 6537933 h 6857999"/>
              <a:gd name="connsiteX97" fmla="*/ 5448287 w 6096000"/>
              <a:gd name="connsiteY97" fmla="*/ 6474318 h 6857999"/>
              <a:gd name="connsiteX98" fmla="*/ 5448480 w 6096000"/>
              <a:gd name="connsiteY98" fmla="*/ 6472623 h 6857999"/>
              <a:gd name="connsiteX99" fmla="*/ 5486692 w 6096000"/>
              <a:gd name="connsiteY99" fmla="*/ 6472623 h 6857999"/>
              <a:gd name="connsiteX100" fmla="*/ 5486692 w 6096000"/>
              <a:gd name="connsiteY100" fmla="*/ 6433366 h 6857999"/>
              <a:gd name="connsiteX101" fmla="*/ 5448215 w 6096000"/>
              <a:gd name="connsiteY101" fmla="*/ 6433366 h 6857999"/>
              <a:gd name="connsiteX102" fmla="*/ 5448215 w 6096000"/>
              <a:gd name="connsiteY102" fmla="*/ 6388965 h 6857999"/>
              <a:gd name="connsiteX103" fmla="*/ 5331716 w 6096000"/>
              <a:gd name="connsiteY103" fmla="*/ 6357614 h 6857999"/>
              <a:gd name="connsiteX104" fmla="*/ 5310158 w 6096000"/>
              <a:gd name="connsiteY104" fmla="*/ 6376132 h 6857999"/>
              <a:gd name="connsiteX105" fmla="*/ 5309726 w 6096000"/>
              <a:gd name="connsiteY105" fmla="*/ 6382008 h 6857999"/>
              <a:gd name="connsiteX106" fmla="*/ 5309990 w 6096000"/>
              <a:gd name="connsiteY106" fmla="*/ 6387583 h 6857999"/>
              <a:gd name="connsiteX107" fmla="*/ 5326152 w 6096000"/>
              <a:gd name="connsiteY107" fmla="*/ 6406065 h 6857999"/>
              <a:gd name="connsiteX108" fmla="*/ 5342675 w 6096000"/>
              <a:gd name="connsiteY108" fmla="*/ 6405704 h 6857999"/>
              <a:gd name="connsiteX109" fmla="*/ 5356794 w 6096000"/>
              <a:gd name="connsiteY109" fmla="*/ 6392282 h 6857999"/>
              <a:gd name="connsiteX110" fmla="*/ 5356722 w 6096000"/>
              <a:gd name="connsiteY110" fmla="*/ 6371565 h 6857999"/>
              <a:gd name="connsiteX111" fmla="*/ 5343131 w 6096000"/>
              <a:gd name="connsiteY111" fmla="*/ 6358660 h 6857999"/>
              <a:gd name="connsiteX112" fmla="*/ 5343120 w 6096000"/>
              <a:gd name="connsiteY112" fmla="*/ 6358660 h 6857999"/>
              <a:gd name="connsiteX113" fmla="*/ 5331716 w 6096000"/>
              <a:gd name="connsiteY113" fmla="*/ 6357614 h 6857999"/>
              <a:gd name="connsiteX114" fmla="*/ 5070718 w 6096000"/>
              <a:gd name="connsiteY114" fmla="*/ 6357614 h 6857999"/>
              <a:gd name="connsiteX115" fmla="*/ 5049690 w 6096000"/>
              <a:gd name="connsiteY115" fmla="*/ 6373969 h 6857999"/>
              <a:gd name="connsiteX116" fmla="*/ 5048620 w 6096000"/>
              <a:gd name="connsiteY116" fmla="*/ 6382032 h 6857999"/>
              <a:gd name="connsiteX117" fmla="*/ 5049461 w 6096000"/>
              <a:gd name="connsiteY117" fmla="*/ 6389950 h 6857999"/>
              <a:gd name="connsiteX118" fmla="*/ 5065347 w 6096000"/>
              <a:gd name="connsiteY118" fmla="*/ 6406101 h 6857999"/>
              <a:gd name="connsiteX119" fmla="*/ 5081581 w 6096000"/>
              <a:gd name="connsiteY119" fmla="*/ 6405752 h 6857999"/>
              <a:gd name="connsiteX120" fmla="*/ 5096085 w 6096000"/>
              <a:gd name="connsiteY120" fmla="*/ 6391645 h 6857999"/>
              <a:gd name="connsiteX121" fmla="*/ 5096049 w 6096000"/>
              <a:gd name="connsiteY121" fmla="*/ 6372298 h 6857999"/>
              <a:gd name="connsiteX122" fmla="*/ 5082122 w 6096000"/>
              <a:gd name="connsiteY122" fmla="*/ 6358648 h 6857999"/>
              <a:gd name="connsiteX123" fmla="*/ 5070718 w 6096000"/>
              <a:gd name="connsiteY123" fmla="*/ 6357614 h 6857999"/>
              <a:gd name="connsiteX124" fmla="*/ 5683462 w 6096000"/>
              <a:gd name="connsiteY124" fmla="*/ 6352483 h 6857999"/>
              <a:gd name="connsiteX125" fmla="*/ 5683462 w 6096000"/>
              <a:gd name="connsiteY125" fmla="*/ 6354718 h 6857999"/>
              <a:gd name="connsiteX126" fmla="*/ 5683534 w 6096000"/>
              <a:gd name="connsiteY126" fmla="*/ 6544110 h 6857999"/>
              <a:gd name="connsiteX127" fmla="*/ 5685301 w 6096000"/>
              <a:gd name="connsiteY127" fmla="*/ 6564417 h 6857999"/>
              <a:gd name="connsiteX128" fmla="*/ 5707903 w 6096000"/>
              <a:gd name="connsiteY128" fmla="*/ 6594314 h 6857999"/>
              <a:gd name="connsiteX129" fmla="*/ 5754323 w 6096000"/>
              <a:gd name="connsiteY129" fmla="*/ 6601068 h 6857999"/>
              <a:gd name="connsiteX130" fmla="*/ 5754791 w 6096000"/>
              <a:gd name="connsiteY130" fmla="*/ 6599445 h 6857999"/>
              <a:gd name="connsiteX131" fmla="*/ 5756666 w 6096000"/>
              <a:gd name="connsiteY131" fmla="*/ 6582298 h 6857999"/>
              <a:gd name="connsiteX132" fmla="*/ 5758372 w 6096000"/>
              <a:gd name="connsiteY132" fmla="*/ 6569897 h 6857999"/>
              <a:gd name="connsiteX133" fmla="*/ 5758372 w 6096000"/>
              <a:gd name="connsiteY133" fmla="*/ 6568167 h 6857999"/>
              <a:gd name="connsiteX134" fmla="*/ 5742391 w 6096000"/>
              <a:gd name="connsiteY134" fmla="*/ 6564682 h 6857999"/>
              <a:gd name="connsiteX135" fmla="*/ 5742403 w 6096000"/>
              <a:gd name="connsiteY135" fmla="*/ 6564682 h 6857999"/>
              <a:gd name="connsiteX136" fmla="*/ 5728475 w 6096000"/>
              <a:gd name="connsiteY136" fmla="*/ 6547991 h 6857999"/>
              <a:gd name="connsiteX137" fmla="*/ 5727875 w 6096000"/>
              <a:gd name="connsiteY137" fmla="*/ 6537380 h 6857999"/>
              <a:gd name="connsiteX138" fmla="*/ 5727851 w 6096000"/>
              <a:gd name="connsiteY138" fmla="*/ 6356052 h 6857999"/>
              <a:gd name="connsiteX139" fmla="*/ 5727851 w 6096000"/>
              <a:gd name="connsiteY139" fmla="*/ 6352483 h 6857999"/>
              <a:gd name="connsiteX140" fmla="*/ 4971450 w 6096000"/>
              <a:gd name="connsiteY140" fmla="*/ 6352423 h 6857999"/>
              <a:gd name="connsiteX141" fmla="*/ 4971450 w 6096000"/>
              <a:gd name="connsiteY141" fmla="*/ 6431984 h 6857999"/>
              <a:gd name="connsiteX142" fmla="*/ 4928612 w 6096000"/>
              <a:gd name="connsiteY142" fmla="*/ 6429364 h 6857999"/>
              <a:gd name="connsiteX143" fmla="*/ 4928612 w 6096000"/>
              <a:gd name="connsiteY143" fmla="*/ 6467192 h 6857999"/>
              <a:gd name="connsiteX144" fmla="*/ 4929345 w 6096000"/>
              <a:gd name="connsiteY144" fmla="*/ 6467301 h 6857999"/>
              <a:gd name="connsiteX145" fmla="*/ 4969047 w 6096000"/>
              <a:gd name="connsiteY145" fmla="*/ 6467937 h 6857999"/>
              <a:gd name="connsiteX146" fmla="*/ 4971522 w 6096000"/>
              <a:gd name="connsiteY146" fmla="*/ 6470641 h 6857999"/>
              <a:gd name="connsiteX147" fmla="*/ 4971511 w 6096000"/>
              <a:gd name="connsiteY147" fmla="*/ 6562171 h 6857999"/>
              <a:gd name="connsiteX148" fmla="*/ 4969288 w 6096000"/>
              <a:gd name="connsiteY148" fmla="*/ 6564790 h 6857999"/>
              <a:gd name="connsiteX149" fmla="*/ 4935497 w 6096000"/>
              <a:gd name="connsiteY149" fmla="*/ 6567457 h 6857999"/>
              <a:gd name="connsiteX150" fmla="*/ 4908736 w 6096000"/>
              <a:gd name="connsiteY150" fmla="*/ 6545216 h 6857999"/>
              <a:gd name="connsiteX151" fmla="*/ 4906345 w 6096000"/>
              <a:gd name="connsiteY151" fmla="*/ 6525015 h 6857999"/>
              <a:gd name="connsiteX152" fmla="*/ 4913351 w 6096000"/>
              <a:gd name="connsiteY152" fmla="*/ 6477767 h 6857999"/>
              <a:gd name="connsiteX153" fmla="*/ 4867183 w 6096000"/>
              <a:gd name="connsiteY153" fmla="*/ 6477731 h 6857999"/>
              <a:gd name="connsiteX154" fmla="*/ 4864876 w 6096000"/>
              <a:gd name="connsiteY154" fmla="*/ 6479941 h 6857999"/>
              <a:gd name="connsiteX155" fmla="*/ 4861403 w 6096000"/>
              <a:gd name="connsiteY155" fmla="*/ 6528272 h 6857999"/>
              <a:gd name="connsiteX156" fmla="*/ 4865165 w 6096000"/>
              <a:gd name="connsiteY156" fmla="*/ 6557856 h 6857999"/>
              <a:gd name="connsiteX157" fmla="*/ 4899315 w 6096000"/>
              <a:gd name="connsiteY157" fmla="*/ 6597823 h 6857999"/>
              <a:gd name="connsiteX158" fmla="*/ 4923505 w 6096000"/>
              <a:gd name="connsiteY158" fmla="*/ 6602606 h 6857999"/>
              <a:gd name="connsiteX159" fmla="*/ 4966896 w 6096000"/>
              <a:gd name="connsiteY159" fmla="*/ 6602041 h 6857999"/>
              <a:gd name="connsiteX160" fmla="*/ 5012451 w 6096000"/>
              <a:gd name="connsiteY160" fmla="*/ 6592656 h 6857999"/>
              <a:gd name="connsiteX161" fmla="*/ 5015442 w 6096000"/>
              <a:gd name="connsiteY161" fmla="*/ 6588451 h 6857999"/>
              <a:gd name="connsiteX162" fmla="*/ 5015383 w 6096000"/>
              <a:gd name="connsiteY162" fmla="*/ 6355595 h 6857999"/>
              <a:gd name="connsiteX163" fmla="*/ 5015383 w 6096000"/>
              <a:gd name="connsiteY163" fmla="*/ 6352423 h 6857999"/>
              <a:gd name="connsiteX164" fmla="*/ 4668522 w 6096000"/>
              <a:gd name="connsiteY164" fmla="*/ 454510 h 6857999"/>
              <a:gd name="connsiteX165" fmla="*/ 4608522 w 6096000"/>
              <a:gd name="connsiteY165" fmla="*/ 514510 h 6857999"/>
              <a:gd name="connsiteX166" fmla="*/ 4668522 w 6096000"/>
              <a:gd name="connsiteY166" fmla="*/ 574510 h 6857999"/>
              <a:gd name="connsiteX167" fmla="*/ 4728522 w 6096000"/>
              <a:gd name="connsiteY167" fmla="*/ 514510 h 6857999"/>
              <a:gd name="connsiteX168" fmla="*/ 4668522 w 6096000"/>
              <a:gd name="connsiteY168" fmla="*/ 454510 h 6857999"/>
              <a:gd name="connsiteX169" fmla="*/ 5607581 w 6096000"/>
              <a:gd name="connsiteY169" fmla="*/ 338981 h 6857999"/>
              <a:gd name="connsiteX170" fmla="*/ 5711110 w 6096000"/>
              <a:gd name="connsiteY170" fmla="*/ 338981 h 6857999"/>
              <a:gd name="connsiteX171" fmla="*/ 5711110 w 6096000"/>
              <a:gd name="connsiteY171" fmla="*/ 530745 h 6857999"/>
              <a:gd name="connsiteX172" fmla="*/ 5605463 w 6096000"/>
              <a:gd name="connsiteY172" fmla="*/ 530745 h 6857999"/>
              <a:gd name="connsiteX173" fmla="*/ 5541698 w 6096000"/>
              <a:gd name="connsiteY173" fmla="*/ 492628 h 6857999"/>
              <a:gd name="connsiteX174" fmla="*/ 5541698 w 6096000"/>
              <a:gd name="connsiteY174" fmla="*/ 432863 h 6857999"/>
              <a:gd name="connsiteX175" fmla="*/ 5541698 w 6096000"/>
              <a:gd name="connsiteY175" fmla="*/ 383687 h 6857999"/>
              <a:gd name="connsiteX176" fmla="*/ 5607581 w 6096000"/>
              <a:gd name="connsiteY176" fmla="*/ 338981 h 6857999"/>
              <a:gd name="connsiteX177" fmla="*/ 5590169 w 6096000"/>
              <a:gd name="connsiteY177" fmla="*/ 296863 h 6857999"/>
              <a:gd name="connsiteX178" fmla="*/ 5516286 w 6096000"/>
              <a:gd name="connsiteY178" fmla="*/ 313804 h 6857999"/>
              <a:gd name="connsiteX179" fmla="*/ 5490404 w 6096000"/>
              <a:gd name="connsiteY179" fmla="*/ 384392 h 6857999"/>
              <a:gd name="connsiteX180" fmla="*/ 5490404 w 6096000"/>
              <a:gd name="connsiteY180" fmla="*/ 483922 h 6857999"/>
              <a:gd name="connsiteX181" fmla="*/ 5517933 w 6096000"/>
              <a:gd name="connsiteY181" fmla="*/ 558275 h 6857999"/>
              <a:gd name="connsiteX182" fmla="*/ 5590404 w 6096000"/>
              <a:gd name="connsiteY182" fmla="*/ 572628 h 6857999"/>
              <a:gd name="connsiteX183" fmla="*/ 5711110 w 6096000"/>
              <a:gd name="connsiteY183" fmla="*/ 572628 h 6857999"/>
              <a:gd name="connsiteX184" fmla="*/ 5711110 w 6096000"/>
              <a:gd name="connsiteY184" fmla="*/ 583216 h 6857999"/>
              <a:gd name="connsiteX185" fmla="*/ 5683110 w 6096000"/>
              <a:gd name="connsiteY185" fmla="*/ 613098 h 6857999"/>
              <a:gd name="connsiteX186" fmla="*/ 5525698 w 6096000"/>
              <a:gd name="connsiteY186" fmla="*/ 613098 h 6857999"/>
              <a:gd name="connsiteX187" fmla="*/ 5525698 w 6096000"/>
              <a:gd name="connsiteY187" fmla="*/ 657334 h 6857999"/>
              <a:gd name="connsiteX188" fmla="*/ 5699345 w 6096000"/>
              <a:gd name="connsiteY188" fmla="*/ 657334 h 6857999"/>
              <a:gd name="connsiteX189" fmla="*/ 5761228 w 6096000"/>
              <a:gd name="connsiteY189" fmla="*/ 597098 h 6857999"/>
              <a:gd name="connsiteX190" fmla="*/ 5761228 w 6096000"/>
              <a:gd name="connsiteY190" fmla="*/ 296863 h 6857999"/>
              <a:gd name="connsiteX191" fmla="*/ 5255581 w 6096000"/>
              <a:gd name="connsiteY191" fmla="*/ 296863 h 6857999"/>
              <a:gd name="connsiteX192" fmla="*/ 5184757 w 6096000"/>
              <a:gd name="connsiteY192" fmla="*/ 373334 h 6857999"/>
              <a:gd name="connsiteX193" fmla="*/ 5252051 w 6096000"/>
              <a:gd name="connsiteY193" fmla="*/ 452863 h 6857999"/>
              <a:gd name="connsiteX194" fmla="*/ 5371816 w 6096000"/>
              <a:gd name="connsiteY194" fmla="*/ 452863 h 6857999"/>
              <a:gd name="connsiteX195" fmla="*/ 5408522 w 6096000"/>
              <a:gd name="connsiteY195" fmla="*/ 494039 h 6857999"/>
              <a:gd name="connsiteX196" fmla="*/ 5372757 w 6096000"/>
              <a:gd name="connsiteY196" fmla="*/ 530745 h 6857999"/>
              <a:gd name="connsiteX197" fmla="*/ 5189463 w 6096000"/>
              <a:gd name="connsiteY197" fmla="*/ 530745 h 6857999"/>
              <a:gd name="connsiteX198" fmla="*/ 5189463 w 6096000"/>
              <a:gd name="connsiteY198" fmla="*/ 572863 h 6857999"/>
              <a:gd name="connsiteX199" fmla="*/ 5393934 w 6096000"/>
              <a:gd name="connsiteY199" fmla="*/ 572863 h 6857999"/>
              <a:gd name="connsiteX200" fmla="*/ 5459581 w 6096000"/>
              <a:gd name="connsiteY200" fmla="*/ 494510 h 6857999"/>
              <a:gd name="connsiteX201" fmla="*/ 5397228 w 6096000"/>
              <a:gd name="connsiteY201" fmla="*/ 411216 h 6857999"/>
              <a:gd name="connsiteX202" fmla="*/ 5267816 w 6096000"/>
              <a:gd name="connsiteY202" fmla="*/ 411216 h 6857999"/>
              <a:gd name="connsiteX203" fmla="*/ 5235110 w 6096000"/>
              <a:gd name="connsiteY203" fmla="*/ 374510 h 6857999"/>
              <a:gd name="connsiteX204" fmla="*/ 5273228 w 6096000"/>
              <a:gd name="connsiteY204" fmla="*/ 338981 h 6857999"/>
              <a:gd name="connsiteX205" fmla="*/ 5449934 w 6096000"/>
              <a:gd name="connsiteY205" fmla="*/ 338981 h 6857999"/>
              <a:gd name="connsiteX206" fmla="*/ 5449934 w 6096000"/>
              <a:gd name="connsiteY206" fmla="*/ 297098 h 6857999"/>
              <a:gd name="connsiteX207" fmla="*/ 4767345 w 6096000"/>
              <a:gd name="connsiteY207" fmla="*/ 296863 h 6857999"/>
              <a:gd name="connsiteX208" fmla="*/ 4767345 w 6096000"/>
              <a:gd name="connsiteY208" fmla="*/ 572628 h 6857999"/>
              <a:gd name="connsiteX209" fmla="*/ 4817698 w 6096000"/>
              <a:gd name="connsiteY209" fmla="*/ 572628 h 6857999"/>
              <a:gd name="connsiteX210" fmla="*/ 4817698 w 6096000"/>
              <a:gd name="connsiteY210" fmla="*/ 338745 h 6857999"/>
              <a:gd name="connsiteX211" fmla="*/ 4932992 w 6096000"/>
              <a:gd name="connsiteY211" fmla="*/ 338745 h 6857999"/>
              <a:gd name="connsiteX212" fmla="*/ 4932992 w 6096000"/>
              <a:gd name="connsiteY212" fmla="*/ 572628 h 6857999"/>
              <a:gd name="connsiteX213" fmla="*/ 4983580 w 6096000"/>
              <a:gd name="connsiteY213" fmla="*/ 572628 h 6857999"/>
              <a:gd name="connsiteX214" fmla="*/ 4983580 w 6096000"/>
              <a:gd name="connsiteY214" fmla="*/ 338745 h 6857999"/>
              <a:gd name="connsiteX215" fmla="*/ 5060286 w 6096000"/>
              <a:gd name="connsiteY215" fmla="*/ 338745 h 6857999"/>
              <a:gd name="connsiteX216" fmla="*/ 5104522 w 6096000"/>
              <a:gd name="connsiteY216" fmla="*/ 387922 h 6857999"/>
              <a:gd name="connsiteX217" fmla="*/ 5104522 w 6096000"/>
              <a:gd name="connsiteY217" fmla="*/ 572628 h 6857999"/>
              <a:gd name="connsiteX218" fmla="*/ 5154875 w 6096000"/>
              <a:gd name="connsiteY218" fmla="*/ 572628 h 6857999"/>
              <a:gd name="connsiteX219" fmla="*/ 5154875 w 6096000"/>
              <a:gd name="connsiteY219" fmla="*/ 374039 h 6857999"/>
              <a:gd name="connsiteX220" fmla="*/ 5085698 w 6096000"/>
              <a:gd name="connsiteY220" fmla="*/ 296863 h 6857999"/>
              <a:gd name="connsiteX221" fmla="*/ 0 w 6096000"/>
              <a:gd name="connsiteY221" fmla="*/ 0 h 6857999"/>
              <a:gd name="connsiteX222" fmla="*/ 6096000 w 6096000"/>
              <a:gd name="connsiteY222" fmla="*/ 0 h 6857999"/>
              <a:gd name="connsiteX223" fmla="*/ 6096000 w 6096000"/>
              <a:gd name="connsiteY223" fmla="*/ 6857999 h 6857999"/>
              <a:gd name="connsiteX224" fmla="*/ 0 w 6096000"/>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096000" h="6857999">
                <a:moveTo>
                  <a:pt x="5311828" y="6539628"/>
                </a:moveTo>
                <a:lnTo>
                  <a:pt x="5311828" y="6598965"/>
                </a:lnTo>
                <a:lnTo>
                  <a:pt x="5355845" y="6598965"/>
                </a:lnTo>
                <a:lnTo>
                  <a:pt x="5355845" y="6539628"/>
                </a:lnTo>
                <a:close/>
                <a:moveTo>
                  <a:pt x="5311877" y="6433666"/>
                </a:moveTo>
                <a:lnTo>
                  <a:pt x="5311877" y="6485013"/>
                </a:lnTo>
                <a:lnTo>
                  <a:pt x="5355845" y="6485013"/>
                </a:lnTo>
                <a:lnTo>
                  <a:pt x="5355845" y="6433666"/>
                </a:lnTo>
                <a:close/>
                <a:moveTo>
                  <a:pt x="5051024" y="6433522"/>
                </a:moveTo>
                <a:lnTo>
                  <a:pt x="5051024" y="6599025"/>
                </a:lnTo>
                <a:lnTo>
                  <a:pt x="5095004" y="6599025"/>
                </a:lnTo>
                <a:lnTo>
                  <a:pt x="5095004" y="6433522"/>
                </a:lnTo>
                <a:close/>
                <a:moveTo>
                  <a:pt x="5235705" y="6430879"/>
                </a:moveTo>
                <a:cubicBezTo>
                  <a:pt x="5216370" y="6428764"/>
                  <a:pt x="5197035" y="6428127"/>
                  <a:pt x="5177713" y="6431143"/>
                </a:cubicBezTo>
                <a:cubicBezTo>
                  <a:pt x="5151301" y="6435264"/>
                  <a:pt x="5134189" y="6449709"/>
                  <a:pt x="5127592" y="6476000"/>
                </a:cubicBezTo>
                <a:cubicBezTo>
                  <a:pt x="5124637" y="6487788"/>
                  <a:pt x="5123386" y="6499769"/>
                  <a:pt x="5123134" y="6511870"/>
                </a:cubicBezTo>
                <a:cubicBezTo>
                  <a:pt x="5122798" y="6527720"/>
                  <a:pt x="5123194" y="6543521"/>
                  <a:pt x="5127244" y="6558998"/>
                </a:cubicBezTo>
                <a:cubicBezTo>
                  <a:pt x="5132772" y="6580075"/>
                  <a:pt x="5145605" y="6593654"/>
                  <a:pt x="5167319" y="6598340"/>
                </a:cubicBezTo>
                <a:cubicBezTo>
                  <a:pt x="5179059" y="6600875"/>
                  <a:pt x="5190955" y="6601573"/>
                  <a:pt x="5202839" y="6600803"/>
                </a:cubicBezTo>
                <a:cubicBezTo>
                  <a:pt x="5212248" y="6600190"/>
                  <a:pt x="5221597" y="6598497"/>
                  <a:pt x="5231475" y="6597210"/>
                </a:cubicBezTo>
                <a:cubicBezTo>
                  <a:pt x="5231174" y="6601476"/>
                  <a:pt x="5231030" y="6606343"/>
                  <a:pt x="5230441" y="6611150"/>
                </a:cubicBezTo>
                <a:cubicBezTo>
                  <a:pt x="5229564" y="6618288"/>
                  <a:pt x="5225563" y="6623346"/>
                  <a:pt x="5219110" y="6626351"/>
                </a:cubicBezTo>
                <a:cubicBezTo>
                  <a:pt x="5215817" y="6627876"/>
                  <a:pt x="5212416" y="6629270"/>
                  <a:pt x="5208931" y="6630267"/>
                </a:cubicBezTo>
                <a:cubicBezTo>
                  <a:pt x="5193550" y="6634654"/>
                  <a:pt x="5177701" y="6636408"/>
                  <a:pt x="5161899" y="6638415"/>
                </a:cubicBezTo>
                <a:cubicBezTo>
                  <a:pt x="5156901" y="6639051"/>
                  <a:pt x="5151889" y="6639605"/>
                  <a:pt x="5146747" y="6640218"/>
                </a:cubicBezTo>
                <a:cubicBezTo>
                  <a:pt x="5147551" y="6652523"/>
                  <a:pt x="5148333" y="6664467"/>
                  <a:pt x="5149114" y="6676411"/>
                </a:cubicBezTo>
                <a:lnTo>
                  <a:pt x="5152574" y="6676411"/>
                </a:lnTo>
                <a:cubicBezTo>
                  <a:pt x="5153392" y="6676243"/>
                  <a:pt x="5154197" y="6675978"/>
                  <a:pt x="5155026" y="6675931"/>
                </a:cubicBezTo>
                <a:cubicBezTo>
                  <a:pt x="5173147" y="6674885"/>
                  <a:pt x="5191183" y="6673010"/>
                  <a:pt x="5209003" y="6669453"/>
                </a:cubicBezTo>
                <a:cubicBezTo>
                  <a:pt x="5221513" y="6666954"/>
                  <a:pt x="5233974" y="6664166"/>
                  <a:pt x="5245570" y="6658579"/>
                </a:cubicBezTo>
                <a:cubicBezTo>
                  <a:pt x="5258812" y="6652198"/>
                  <a:pt x="5268846" y="6642621"/>
                  <a:pt x="5272150" y="6627936"/>
                </a:cubicBezTo>
                <a:cubicBezTo>
                  <a:pt x="5274265" y="6618552"/>
                  <a:pt x="5275431" y="6608819"/>
                  <a:pt x="5275767" y="6599193"/>
                </a:cubicBezTo>
                <a:cubicBezTo>
                  <a:pt x="5276440" y="6580219"/>
                  <a:pt x="5276248" y="6561221"/>
                  <a:pt x="5276392" y="6542223"/>
                </a:cubicBezTo>
                <a:cubicBezTo>
                  <a:pt x="5276404" y="6541394"/>
                  <a:pt x="5276284" y="6540553"/>
                  <a:pt x="5276212" y="6539628"/>
                </a:cubicBezTo>
                <a:lnTo>
                  <a:pt x="5232076" y="6539628"/>
                </a:lnTo>
                <a:lnTo>
                  <a:pt x="5232076" y="6559791"/>
                </a:lnTo>
                <a:cubicBezTo>
                  <a:pt x="5231295" y="6560092"/>
                  <a:pt x="5230790" y="6560368"/>
                  <a:pt x="5230237" y="6560500"/>
                </a:cubicBezTo>
                <a:cubicBezTo>
                  <a:pt x="5218665" y="6563216"/>
                  <a:pt x="5206901" y="6564381"/>
                  <a:pt x="5195077" y="6563336"/>
                </a:cubicBezTo>
                <a:cubicBezTo>
                  <a:pt x="5181138" y="6562110"/>
                  <a:pt x="5173567" y="6556138"/>
                  <a:pt x="5170672" y="6543653"/>
                </a:cubicBezTo>
                <a:cubicBezTo>
                  <a:pt x="5169037" y="6536623"/>
                  <a:pt x="5168460" y="6529269"/>
                  <a:pt x="5168184" y="6522024"/>
                </a:cubicBezTo>
                <a:cubicBezTo>
                  <a:pt x="5167751" y="6510812"/>
                  <a:pt x="5167980" y="6499577"/>
                  <a:pt x="5170467" y="6488534"/>
                </a:cubicBezTo>
                <a:cubicBezTo>
                  <a:pt x="5172931" y="6477563"/>
                  <a:pt x="5179107" y="6470064"/>
                  <a:pt x="5190523" y="6467757"/>
                </a:cubicBezTo>
                <a:cubicBezTo>
                  <a:pt x="5203813" y="6465065"/>
                  <a:pt x="5217055" y="6466039"/>
                  <a:pt x="5230285" y="6468418"/>
                </a:cubicBezTo>
                <a:cubicBezTo>
                  <a:pt x="5232076" y="6468743"/>
                  <a:pt x="5232027" y="6469800"/>
                  <a:pt x="5232027" y="6471098"/>
                </a:cubicBezTo>
                <a:cubicBezTo>
                  <a:pt x="5232027" y="6475676"/>
                  <a:pt x="5232027" y="6480255"/>
                  <a:pt x="5232027" y="6484928"/>
                </a:cubicBezTo>
                <a:lnTo>
                  <a:pt x="5276416" y="6484928"/>
                </a:lnTo>
                <a:lnTo>
                  <a:pt x="5276416" y="6481852"/>
                </a:lnTo>
                <a:cubicBezTo>
                  <a:pt x="5276416" y="6468898"/>
                  <a:pt x="5276344" y="6455945"/>
                  <a:pt x="5276476" y="6442991"/>
                </a:cubicBezTo>
                <a:lnTo>
                  <a:pt x="5276476" y="6442979"/>
                </a:lnTo>
                <a:cubicBezTo>
                  <a:pt x="5276501" y="6440660"/>
                  <a:pt x="5275779" y="6439651"/>
                  <a:pt x="5273616" y="6438893"/>
                </a:cubicBezTo>
                <a:cubicBezTo>
                  <a:pt x="5261323" y="6434568"/>
                  <a:pt x="5248598" y="6432296"/>
                  <a:pt x="5235705" y="6430879"/>
                </a:cubicBezTo>
                <a:close/>
                <a:moveTo>
                  <a:pt x="5606364" y="6430085"/>
                </a:moveTo>
                <a:cubicBezTo>
                  <a:pt x="5579231" y="6427298"/>
                  <a:pt x="5552314" y="6429172"/>
                  <a:pt x="5525517" y="6433859"/>
                </a:cubicBezTo>
                <a:cubicBezTo>
                  <a:pt x="5523523" y="6434207"/>
                  <a:pt x="5523006" y="6434952"/>
                  <a:pt x="5523186" y="6436851"/>
                </a:cubicBezTo>
                <a:cubicBezTo>
                  <a:pt x="5523943" y="6444578"/>
                  <a:pt x="5524569" y="6452316"/>
                  <a:pt x="5525265" y="6460055"/>
                </a:cubicBezTo>
                <a:cubicBezTo>
                  <a:pt x="5525506" y="6462687"/>
                  <a:pt x="5525782" y="6465305"/>
                  <a:pt x="5526046" y="6468022"/>
                </a:cubicBezTo>
                <a:cubicBezTo>
                  <a:pt x="5527368" y="6467961"/>
                  <a:pt x="5528317" y="6467914"/>
                  <a:pt x="5529267" y="6467865"/>
                </a:cubicBezTo>
                <a:cubicBezTo>
                  <a:pt x="5544792" y="6467228"/>
                  <a:pt x="5560318" y="6466219"/>
                  <a:pt x="5575843" y="6466147"/>
                </a:cubicBezTo>
                <a:cubicBezTo>
                  <a:pt x="5582440" y="6466111"/>
                  <a:pt x="5589133" y="6467661"/>
                  <a:pt x="5595622" y="6469211"/>
                </a:cubicBezTo>
                <a:cubicBezTo>
                  <a:pt x="5600428" y="6470364"/>
                  <a:pt x="5603517" y="6474042"/>
                  <a:pt x="5604069" y="6479101"/>
                </a:cubicBezTo>
                <a:cubicBezTo>
                  <a:pt x="5604766" y="6485637"/>
                  <a:pt x="5605091" y="6492223"/>
                  <a:pt x="5605571" y="6498699"/>
                </a:cubicBezTo>
                <a:cubicBezTo>
                  <a:pt x="5598974" y="6498699"/>
                  <a:pt x="5593231" y="6498784"/>
                  <a:pt x="5587474" y="6498687"/>
                </a:cubicBezTo>
                <a:cubicBezTo>
                  <a:pt x="5571613" y="6498411"/>
                  <a:pt x="5555799" y="6498759"/>
                  <a:pt x="5540262" y="6502533"/>
                </a:cubicBezTo>
                <a:cubicBezTo>
                  <a:pt x="5526383" y="6505909"/>
                  <a:pt x="5515784" y="6513323"/>
                  <a:pt x="5510197" y="6526854"/>
                </a:cubicBezTo>
                <a:cubicBezTo>
                  <a:pt x="5507408" y="6533596"/>
                  <a:pt x="5506496" y="6540733"/>
                  <a:pt x="5506532" y="6547967"/>
                </a:cubicBezTo>
                <a:cubicBezTo>
                  <a:pt x="5506568" y="6553206"/>
                  <a:pt x="5507001" y="6558433"/>
                  <a:pt x="5507264" y="6563624"/>
                </a:cubicBezTo>
                <a:lnTo>
                  <a:pt x="5553324" y="6563624"/>
                </a:lnTo>
                <a:cubicBezTo>
                  <a:pt x="5549731" y="6559227"/>
                  <a:pt x="5549058" y="6554312"/>
                  <a:pt x="5548866" y="6549276"/>
                </a:cubicBezTo>
                <a:cubicBezTo>
                  <a:pt x="5548457" y="6538390"/>
                  <a:pt x="5552975" y="6532189"/>
                  <a:pt x="5563153" y="6529750"/>
                </a:cubicBezTo>
                <a:cubicBezTo>
                  <a:pt x="5564643" y="6529389"/>
                  <a:pt x="5566169" y="6529029"/>
                  <a:pt x="5567696" y="6528993"/>
                </a:cubicBezTo>
                <a:cubicBezTo>
                  <a:pt x="5577669" y="6528777"/>
                  <a:pt x="5587631" y="6528609"/>
                  <a:pt x="5597605" y="6528500"/>
                </a:cubicBezTo>
                <a:cubicBezTo>
                  <a:pt x="5600056" y="6528477"/>
                  <a:pt x="5602507" y="6528729"/>
                  <a:pt x="5605151" y="6528873"/>
                </a:cubicBezTo>
                <a:lnTo>
                  <a:pt x="5605151" y="6563637"/>
                </a:lnTo>
                <a:lnTo>
                  <a:pt x="5648867" y="6563637"/>
                </a:lnTo>
                <a:lnTo>
                  <a:pt x="5648867" y="6560007"/>
                </a:lnTo>
                <a:cubicBezTo>
                  <a:pt x="5648867" y="6534389"/>
                  <a:pt x="5648986" y="6508769"/>
                  <a:pt x="5648782" y="6483150"/>
                </a:cubicBezTo>
                <a:cubicBezTo>
                  <a:pt x="5648734" y="6476661"/>
                  <a:pt x="5648158" y="6470101"/>
                  <a:pt x="5647016" y="6463707"/>
                </a:cubicBezTo>
                <a:lnTo>
                  <a:pt x="5647028" y="6463720"/>
                </a:lnTo>
                <a:cubicBezTo>
                  <a:pt x="5644180" y="6447846"/>
                  <a:pt x="5635504" y="6436779"/>
                  <a:pt x="5619330" y="6432633"/>
                </a:cubicBezTo>
                <a:cubicBezTo>
                  <a:pt x="5615065" y="6431539"/>
                  <a:pt x="5610727" y="6430542"/>
                  <a:pt x="5606364" y="6430085"/>
                </a:cubicBezTo>
                <a:close/>
                <a:moveTo>
                  <a:pt x="5406110" y="6388965"/>
                </a:moveTo>
                <a:cubicBezTo>
                  <a:pt x="5405665" y="6403805"/>
                  <a:pt x="5405233" y="6418514"/>
                  <a:pt x="5404800" y="6433378"/>
                </a:cubicBezTo>
                <a:cubicBezTo>
                  <a:pt x="5395968" y="6434171"/>
                  <a:pt x="5387329" y="6434964"/>
                  <a:pt x="5378712" y="6435733"/>
                </a:cubicBezTo>
                <a:lnTo>
                  <a:pt x="5378712" y="6472828"/>
                </a:lnTo>
                <a:lnTo>
                  <a:pt x="5403887" y="6472828"/>
                </a:lnTo>
                <a:lnTo>
                  <a:pt x="5403887" y="6476325"/>
                </a:lnTo>
                <a:cubicBezTo>
                  <a:pt x="5403887" y="6496476"/>
                  <a:pt x="5403718" y="6516628"/>
                  <a:pt x="5403971" y="6536780"/>
                </a:cubicBezTo>
                <a:cubicBezTo>
                  <a:pt x="5404067" y="6544902"/>
                  <a:pt x="5404488" y="6553110"/>
                  <a:pt x="5405750" y="6561125"/>
                </a:cubicBezTo>
                <a:cubicBezTo>
                  <a:pt x="5408609" y="6579330"/>
                  <a:pt x="5418511" y="6591719"/>
                  <a:pt x="5436884" y="6596609"/>
                </a:cubicBezTo>
                <a:cubicBezTo>
                  <a:pt x="5448756" y="6599770"/>
                  <a:pt x="5460881" y="6600707"/>
                  <a:pt x="5473066" y="6601248"/>
                </a:cubicBezTo>
                <a:cubicBezTo>
                  <a:pt x="5478197" y="6601476"/>
                  <a:pt x="5483340" y="6601284"/>
                  <a:pt x="5488567" y="6601284"/>
                </a:cubicBezTo>
                <a:cubicBezTo>
                  <a:pt x="5489216" y="6590157"/>
                  <a:pt x="5489865" y="6579077"/>
                  <a:pt x="5490525" y="6567698"/>
                </a:cubicBezTo>
                <a:cubicBezTo>
                  <a:pt x="5488507" y="6567434"/>
                  <a:pt x="5486872" y="6567338"/>
                  <a:pt x="5485286" y="6567013"/>
                </a:cubicBezTo>
                <a:cubicBezTo>
                  <a:pt x="5477140" y="6565306"/>
                  <a:pt x="5468908" y="6563913"/>
                  <a:pt x="5460905" y="6561678"/>
                </a:cubicBezTo>
                <a:lnTo>
                  <a:pt x="5460917" y="6561678"/>
                </a:lnTo>
                <a:cubicBezTo>
                  <a:pt x="5455329" y="6560116"/>
                  <a:pt x="5451664" y="6555801"/>
                  <a:pt x="5450270" y="6550118"/>
                </a:cubicBezTo>
                <a:cubicBezTo>
                  <a:pt x="5449297" y="6546141"/>
                  <a:pt x="5448492" y="6542007"/>
                  <a:pt x="5448456" y="6537933"/>
                </a:cubicBezTo>
                <a:cubicBezTo>
                  <a:pt x="5448251" y="6516724"/>
                  <a:pt x="5448312" y="6495528"/>
                  <a:pt x="5448287" y="6474318"/>
                </a:cubicBezTo>
                <a:cubicBezTo>
                  <a:pt x="5448287" y="6473862"/>
                  <a:pt x="5448384" y="6473405"/>
                  <a:pt x="5448480" y="6472623"/>
                </a:cubicBezTo>
                <a:lnTo>
                  <a:pt x="5486692" y="6472623"/>
                </a:lnTo>
                <a:lnTo>
                  <a:pt x="5486692" y="6433366"/>
                </a:lnTo>
                <a:lnTo>
                  <a:pt x="5448215" y="6433366"/>
                </a:lnTo>
                <a:lnTo>
                  <a:pt x="5448215" y="6388965"/>
                </a:lnTo>
                <a:close/>
                <a:moveTo>
                  <a:pt x="5331716" y="6357614"/>
                </a:moveTo>
                <a:cubicBezTo>
                  <a:pt x="5319315" y="6357987"/>
                  <a:pt x="5312165" y="6364223"/>
                  <a:pt x="5310158" y="6376132"/>
                </a:cubicBezTo>
                <a:cubicBezTo>
                  <a:pt x="5309798" y="6378294"/>
                  <a:pt x="5309822" y="6380517"/>
                  <a:pt x="5309726" y="6382008"/>
                </a:cubicBezTo>
                <a:cubicBezTo>
                  <a:pt x="5309834" y="6384339"/>
                  <a:pt x="5309834" y="6385973"/>
                  <a:pt x="5309990" y="6387583"/>
                </a:cubicBezTo>
                <a:cubicBezTo>
                  <a:pt x="5310928" y="6397857"/>
                  <a:pt x="5316455" y="6404695"/>
                  <a:pt x="5326152" y="6406065"/>
                </a:cubicBezTo>
                <a:cubicBezTo>
                  <a:pt x="5331547" y="6406834"/>
                  <a:pt x="5337268" y="6406557"/>
                  <a:pt x="5342675" y="6405704"/>
                </a:cubicBezTo>
                <a:cubicBezTo>
                  <a:pt x="5350150" y="6404526"/>
                  <a:pt x="5354884" y="6399636"/>
                  <a:pt x="5356794" y="6392282"/>
                </a:cubicBezTo>
                <a:cubicBezTo>
                  <a:pt x="5358585" y="6385384"/>
                  <a:pt x="5358585" y="6378463"/>
                  <a:pt x="5356722" y="6371565"/>
                </a:cubicBezTo>
                <a:cubicBezTo>
                  <a:pt x="5354812" y="6364512"/>
                  <a:pt x="5350173" y="6360150"/>
                  <a:pt x="5343131" y="6358660"/>
                </a:cubicBezTo>
                <a:lnTo>
                  <a:pt x="5343120" y="6358660"/>
                </a:lnTo>
                <a:cubicBezTo>
                  <a:pt x="5339406" y="6357878"/>
                  <a:pt x="5335513" y="6357494"/>
                  <a:pt x="5331716" y="6357614"/>
                </a:cubicBezTo>
                <a:close/>
                <a:moveTo>
                  <a:pt x="5070718" y="6357614"/>
                </a:moveTo>
                <a:cubicBezTo>
                  <a:pt x="5059159" y="6357963"/>
                  <a:pt x="5052080" y="6363562"/>
                  <a:pt x="5049690" y="6373969"/>
                </a:cubicBezTo>
                <a:cubicBezTo>
                  <a:pt x="5049077" y="6376660"/>
                  <a:pt x="5048945" y="6379448"/>
                  <a:pt x="5048620" y="6382032"/>
                </a:cubicBezTo>
                <a:cubicBezTo>
                  <a:pt x="5048909" y="6384819"/>
                  <a:pt x="5049053" y="6387415"/>
                  <a:pt x="5049461" y="6389950"/>
                </a:cubicBezTo>
                <a:cubicBezTo>
                  <a:pt x="5050951" y="6398987"/>
                  <a:pt x="5056335" y="6404923"/>
                  <a:pt x="5065347" y="6406101"/>
                </a:cubicBezTo>
                <a:cubicBezTo>
                  <a:pt x="5070658" y="6406797"/>
                  <a:pt x="5076270" y="6406581"/>
                  <a:pt x="5081581" y="6405752"/>
                </a:cubicBezTo>
                <a:cubicBezTo>
                  <a:pt x="5089440" y="6404514"/>
                  <a:pt x="5094223" y="6399371"/>
                  <a:pt x="5096085" y="6391645"/>
                </a:cubicBezTo>
                <a:cubicBezTo>
                  <a:pt x="5097647" y="6385204"/>
                  <a:pt x="5097623" y="6378727"/>
                  <a:pt x="5096049" y="6372298"/>
                </a:cubicBezTo>
                <a:cubicBezTo>
                  <a:pt x="5094235" y="6364920"/>
                  <a:pt x="5089584" y="6360174"/>
                  <a:pt x="5082122" y="6358648"/>
                </a:cubicBezTo>
                <a:cubicBezTo>
                  <a:pt x="5078397" y="6357890"/>
                  <a:pt x="5074516" y="6357506"/>
                  <a:pt x="5070718" y="6357614"/>
                </a:cubicBezTo>
                <a:close/>
                <a:moveTo>
                  <a:pt x="5683462" y="6352483"/>
                </a:moveTo>
                <a:lnTo>
                  <a:pt x="5683462" y="6354718"/>
                </a:lnTo>
                <a:cubicBezTo>
                  <a:pt x="5683462" y="6417853"/>
                  <a:pt x="5683414" y="6480975"/>
                  <a:pt x="5683534" y="6544110"/>
                </a:cubicBezTo>
                <a:cubicBezTo>
                  <a:pt x="5683546" y="6550887"/>
                  <a:pt x="5684315" y="6557700"/>
                  <a:pt x="5685301" y="6564417"/>
                </a:cubicBezTo>
                <a:cubicBezTo>
                  <a:pt x="5687380" y="6578392"/>
                  <a:pt x="5694421" y="6588919"/>
                  <a:pt x="5707903" y="6594314"/>
                </a:cubicBezTo>
                <a:cubicBezTo>
                  <a:pt x="5722816" y="6600275"/>
                  <a:pt x="5738570" y="6600576"/>
                  <a:pt x="5754323" y="6601068"/>
                </a:cubicBezTo>
                <a:cubicBezTo>
                  <a:pt x="5754539" y="6600347"/>
                  <a:pt x="5754744" y="6599902"/>
                  <a:pt x="5754791" y="6599445"/>
                </a:cubicBezTo>
                <a:cubicBezTo>
                  <a:pt x="5755429" y="6593726"/>
                  <a:pt x="5755994" y="6588006"/>
                  <a:pt x="5756666" y="6582298"/>
                </a:cubicBezTo>
                <a:cubicBezTo>
                  <a:pt x="5757159" y="6578152"/>
                  <a:pt x="5757796" y="6574031"/>
                  <a:pt x="5758372" y="6569897"/>
                </a:cubicBezTo>
                <a:lnTo>
                  <a:pt x="5758372" y="6568167"/>
                </a:lnTo>
                <a:cubicBezTo>
                  <a:pt x="5753037" y="6567013"/>
                  <a:pt x="5747654" y="6566052"/>
                  <a:pt x="5742391" y="6564682"/>
                </a:cubicBezTo>
                <a:lnTo>
                  <a:pt x="5742403" y="6564682"/>
                </a:lnTo>
                <a:cubicBezTo>
                  <a:pt x="5733871" y="6562459"/>
                  <a:pt x="5729437" y="6556558"/>
                  <a:pt x="5728475" y="6547991"/>
                </a:cubicBezTo>
                <a:cubicBezTo>
                  <a:pt x="5728079" y="6544470"/>
                  <a:pt x="5727875" y="6540914"/>
                  <a:pt x="5727875" y="6537380"/>
                </a:cubicBezTo>
                <a:cubicBezTo>
                  <a:pt x="5727839" y="6476938"/>
                  <a:pt x="5727851" y="6416495"/>
                  <a:pt x="5727851" y="6356052"/>
                </a:cubicBezTo>
                <a:lnTo>
                  <a:pt x="5727851" y="6352483"/>
                </a:lnTo>
                <a:close/>
                <a:moveTo>
                  <a:pt x="4971450" y="6352423"/>
                </a:moveTo>
                <a:lnTo>
                  <a:pt x="4971450" y="6431984"/>
                </a:lnTo>
                <a:cubicBezTo>
                  <a:pt x="4957066" y="6429376"/>
                  <a:pt x="4942923" y="6427862"/>
                  <a:pt x="4928612" y="6429364"/>
                </a:cubicBezTo>
                <a:lnTo>
                  <a:pt x="4928612" y="6467192"/>
                </a:lnTo>
                <a:cubicBezTo>
                  <a:pt x="4928972" y="6467252"/>
                  <a:pt x="4929176" y="6467349"/>
                  <a:pt x="4929345" y="6467301"/>
                </a:cubicBezTo>
                <a:cubicBezTo>
                  <a:pt x="4942635" y="6464380"/>
                  <a:pt x="4955853" y="6465318"/>
                  <a:pt x="4969047" y="6467937"/>
                </a:cubicBezTo>
                <a:cubicBezTo>
                  <a:pt x="4970645" y="6468249"/>
                  <a:pt x="4971522" y="6468682"/>
                  <a:pt x="4971522" y="6470641"/>
                </a:cubicBezTo>
                <a:cubicBezTo>
                  <a:pt x="4971450" y="6501151"/>
                  <a:pt x="4971462" y="6531661"/>
                  <a:pt x="4971511" y="6562171"/>
                </a:cubicBezTo>
                <a:cubicBezTo>
                  <a:pt x="4971511" y="6563865"/>
                  <a:pt x="4970909" y="6564466"/>
                  <a:pt x="4969288" y="6564790"/>
                </a:cubicBezTo>
                <a:cubicBezTo>
                  <a:pt x="4958124" y="6567001"/>
                  <a:pt x="4946853" y="6568034"/>
                  <a:pt x="4935497" y="6567457"/>
                </a:cubicBezTo>
                <a:cubicBezTo>
                  <a:pt x="4920525" y="6566700"/>
                  <a:pt x="4912041" y="6559803"/>
                  <a:pt x="4908736" y="6545216"/>
                </a:cubicBezTo>
                <a:cubicBezTo>
                  <a:pt x="4907246" y="6538630"/>
                  <a:pt x="4906453" y="6531769"/>
                  <a:pt x="4906345" y="6525015"/>
                </a:cubicBezTo>
                <a:cubicBezTo>
                  <a:pt x="4906081" y="6509058"/>
                  <a:pt x="4905444" y="6492944"/>
                  <a:pt x="4913351" y="6477767"/>
                </a:cubicBezTo>
                <a:cubicBezTo>
                  <a:pt x="4897717" y="6477767"/>
                  <a:pt x="4882444" y="6477791"/>
                  <a:pt x="4867183" y="6477731"/>
                </a:cubicBezTo>
                <a:cubicBezTo>
                  <a:pt x="4865465" y="6477731"/>
                  <a:pt x="4865177" y="6478584"/>
                  <a:pt x="4864876" y="6479941"/>
                </a:cubicBezTo>
                <a:cubicBezTo>
                  <a:pt x="4861331" y="6495888"/>
                  <a:pt x="4860454" y="6512061"/>
                  <a:pt x="4861403" y="6528272"/>
                </a:cubicBezTo>
                <a:cubicBezTo>
                  <a:pt x="4861980" y="6538186"/>
                  <a:pt x="4863038" y="6548183"/>
                  <a:pt x="4865165" y="6557856"/>
                </a:cubicBezTo>
                <a:cubicBezTo>
                  <a:pt x="4869382" y="6577023"/>
                  <a:pt x="4879897" y="6591611"/>
                  <a:pt x="4899315" y="6597823"/>
                </a:cubicBezTo>
                <a:cubicBezTo>
                  <a:pt x="4907102" y="6600311"/>
                  <a:pt x="4915357" y="6601705"/>
                  <a:pt x="4923505" y="6602606"/>
                </a:cubicBezTo>
                <a:cubicBezTo>
                  <a:pt x="4937948" y="6604204"/>
                  <a:pt x="4952464" y="6603495"/>
                  <a:pt x="4966896" y="6602041"/>
                </a:cubicBezTo>
                <a:cubicBezTo>
                  <a:pt x="4982397" y="6600479"/>
                  <a:pt x="4997647" y="6597703"/>
                  <a:pt x="5012451" y="6592656"/>
                </a:cubicBezTo>
                <a:cubicBezTo>
                  <a:pt x="5014746" y="6591875"/>
                  <a:pt x="5015442" y="6590854"/>
                  <a:pt x="5015442" y="6588451"/>
                </a:cubicBezTo>
                <a:cubicBezTo>
                  <a:pt x="5015370" y="6510837"/>
                  <a:pt x="5015383" y="6433222"/>
                  <a:pt x="5015383" y="6355595"/>
                </a:cubicBezTo>
                <a:lnTo>
                  <a:pt x="5015383" y="6352423"/>
                </a:lnTo>
                <a:close/>
                <a:moveTo>
                  <a:pt x="4668522" y="454510"/>
                </a:moveTo>
                <a:cubicBezTo>
                  <a:pt x="4635346" y="454510"/>
                  <a:pt x="4608522" y="481334"/>
                  <a:pt x="4608522" y="514510"/>
                </a:cubicBezTo>
                <a:cubicBezTo>
                  <a:pt x="4608522" y="547686"/>
                  <a:pt x="4635346" y="574510"/>
                  <a:pt x="4668522" y="574510"/>
                </a:cubicBezTo>
                <a:cubicBezTo>
                  <a:pt x="4701699" y="574510"/>
                  <a:pt x="4728522" y="547686"/>
                  <a:pt x="4728522" y="514510"/>
                </a:cubicBezTo>
                <a:cubicBezTo>
                  <a:pt x="4728522" y="481334"/>
                  <a:pt x="4701699" y="454510"/>
                  <a:pt x="4668522" y="454510"/>
                </a:cubicBezTo>
                <a:close/>
                <a:moveTo>
                  <a:pt x="5607581" y="338981"/>
                </a:moveTo>
                <a:lnTo>
                  <a:pt x="5711110" y="338981"/>
                </a:lnTo>
                <a:lnTo>
                  <a:pt x="5711110" y="530745"/>
                </a:lnTo>
                <a:lnTo>
                  <a:pt x="5605463" y="530745"/>
                </a:lnTo>
                <a:cubicBezTo>
                  <a:pt x="5574169" y="530981"/>
                  <a:pt x="5542639" y="533098"/>
                  <a:pt x="5541698" y="492628"/>
                </a:cubicBezTo>
                <a:cubicBezTo>
                  <a:pt x="5541698" y="490981"/>
                  <a:pt x="5541463" y="476157"/>
                  <a:pt x="5541698" y="432863"/>
                </a:cubicBezTo>
                <a:cubicBezTo>
                  <a:pt x="5541934" y="396157"/>
                  <a:pt x="5541463" y="387451"/>
                  <a:pt x="5541698" y="383687"/>
                </a:cubicBezTo>
                <a:cubicBezTo>
                  <a:pt x="5543345" y="349804"/>
                  <a:pt x="5555816" y="337804"/>
                  <a:pt x="5607581" y="338981"/>
                </a:cubicBezTo>
                <a:close/>
                <a:moveTo>
                  <a:pt x="5590169" y="296863"/>
                </a:moveTo>
                <a:cubicBezTo>
                  <a:pt x="5545228" y="296863"/>
                  <a:pt x="5528522" y="303922"/>
                  <a:pt x="5516286" y="313804"/>
                </a:cubicBezTo>
                <a:cubicBezTo>
                  <a:pt x="5502875" y="324628"/>
                  <a:pt x="5490639" y="338039"/>
                  <a:pt x="5490404" y="384392"/>
                </a:cubicBezTo>
                <a:lnTo>
                  <a:pt x="5490404" y="483922"/>
                </a:lnTo>
                <a:cubicBezTo>
                  <a:pt x="5490404" y="532863"/>
                  <a:pt x="5504051" y="546745"/>
                  <a:pt x="5517933" y="558275"/>
                </a:cubicBezTo>
                <a:cubicBezTo>
                  <a:pt x="5527345" y="564863"/>
                  <a:pt x="5542875" y="572628"/>
                  <a:pt x="5590404" y="572628"/>
                </a:cubicBezTo>
                <a:lnTo>
                  <a:pt x="5711110" y="572628"/>
                </a:lnTo>
                <a:lnTo>
                  <a:pt x="5711110" y="583216"/>
                </a:lnTo>
                <a:cubicBezTo>
                  <a:pt x="5711110" y="604157"/>
                  <a:pt x="5707110" y="613098"/>
                  <a:pt x="5683110" y="613098"/>
                </a:cubicBezTo>
                <a:lnTo>
                  <a:pt x="5525698" y="613098"/>
                </a:lnTo>
                <a:lnTo>
                  <a:pt x="5525698" y="657334"/>
                </a:lnTo>
                <a:lnTo>
                  <a:pt x="5699345" y="657334"/>
                </a:lnTo>
                <a:cubicBezTo>
                  <a:pt x="5746169" y="657334"/>
                  <a:pt x="5761228" y="636392"/>
                  <a:pt x="5761228" y="597098"/>
                </a:cubicBezTo>
                <a:lnTo>
                  <a:pt x="5761228" y="296863"/>
                </a:lnTo>
                <a:close/>
                <a:moveTo>
                  <a:pt x="5255581" y="296863"/>
                </a:moveTo>
                <a:cubicBezTo>
                  <a:pt x="5201228" y="296863"/>
                  <a:pt x="5184757" y="333098"/>
                  <a:pt x="5184757" y="373334"/>
                </a:cubicBezTo>
                <a:cubicBezTo>
                  <a:pt x="5184757" y="416628"/>
                  <a:pt x="5202639" y="452863"/>
                  <a:pt x="5252051" y="452863"/>
                </a:cubicBezTo>
                <a:lnTo>
                  <a:pt x="5371816" y="452863"/>
                </a:lnTo>
                <a:cubicBezTo>
                  <a:pt x="5408522" y="452863"/>
                  <a:pt x="5408522" y="481098"/>
                  <a:pt x="5408522" y="494039"/>
                </a:cubicBezTo>
                <a:cubicBezTo>
                  <a:pt x="5408522" y="506039"/>
                  <a:pt x="5408522" y="530745"/>
                  <a:pt x="5372757" y="530745"/>
                </a:cubicBezTo>
                <a:lnTo>
                  <a:pt x="5189463" y="530745"/>
                </a:lnTo>
                <a:lnTo>
                  <a:pt x="5189463" y="572863"/>
                </a:lnTo>
                <a:lnTo>
                  <a:pt x="5393934" y="572863"/>
                </a:lnTo>
                <a:cubicBezTo>
                  <a:pt x="5444993" y="572863"/>
                  <a:pt x="5459581" y="542981"/>
                  <a:pt x="5459581" y="494510"/>
                </a:cubicBezTo>
                <a:cubicBezTo>
                  <a:pt x="5459581" y="436863"/>
                  <a:pt x="5440757" y="411216"/>
                  <a:pt x="5397228" y="411216"/>
                </a:cubicBezTo>
                <a:lnTo>
                  <a:pt x="5267816" y="411216"/>
                </a:lnTo>
                <a:cubicBezTo>
                  <a:pt x="5235110" y="411216"/>
                  <a:pt x="5235110" y="389098"/>
                  <a:pt x="5235110" y="374510"/>
                </a:cubicBezTo>
                <a:cubicBezTo>
                  <a:pt x="5235110" y="362981"/>
                  <a:pt x="5238404" y="338981"/>
                  <a:pt x="5273228" y="338981"/>
                </a:cubicBezTo>
                <a:lnTo>
                  <a:pt x="5449934" y="338981"/>
                </a:lnTo>
                <a:lnTo>
                  <a:pt x="5449934" y="297098"/>
                </a:lnTo>
                <a:close/>
                <a:moveTo>
                  <a:pt x="4767345" y="296863"/>
                </a:moveTo>
                <a:lnTo>
                  <a:pt x="4767345" y="572628"/>
                </a:lnTo>
                <a:lnTo>
                  <a:pt x="4817698" y="572628"/>
                </a:lnTo>
                <a:lnTo>
                  <a:pt x="4817698" y="338745"/>
                </a:lnTo>
                <a:lnTo>
                  <a:pt x="4932992" y="338745"/>
                </a:lnTo>
                <a:lnTo>
                  <a:pt x="4932992" y="572628"/>
                </a:lnTo>
                <a:lnTo>
                  <a:pt x="4983580" y="572628"/>
                </a:lnTo>
                <a:lnTo>
                  <a:pt x="4983580" y="338745"/>
                </a:lnTo>
                <a:lnTo>
                  <a:pt x="5060286" y="338745"/>
                </a:lnTo>
                <a:cubicBezTo>
                  <a:pt x="5086169" y="338745"/>
                  <a:pt x="5104522" y="354275"/>
                  <a:pt x="5104522" y="387922"/>
                </a:cubicBezTo>
                <a:lnTo>
                  <a:pt x="5104522" y="572628"/>
                </a:lnTo>
                <a:lnTo>
                  <a:pt x="5154875" y="572628"/>
                </a:lnTo>
                <a:lnTo>
                  <a:pt x="5154875" y="374039"/>
                </a:lnTo>
                <a:cubicBezTo>
                  <a:pt x="5154875" y="336392"/>
                  <a:pt x="5135581" y="296863"/>
                  <a:pt x="5085698" y="296863"/>
                </a:cubicBezTo>
                <a:close/>
                <a:moveTo>
                  <a:pt x="0" y="0"/>
                </a:moveTo>
                <a:lnTo>
                  <a:pt x="6096000" y="0"/>
                </a:lnTo>
                <a:lnTo>
                  <a:pt x="6096000"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5071708" cy="738664"/>
          </a:xfrm>
        </p:spPr>
        <p:txBody>
          <a:bodyPr vert="horz"/>
          <a:lstStyle>
            <a:lvl1pPr rtl="0">
              <a:defRPr>
                <a:solidFill>
                  <a:schemeClr val="bg1"/>
                </a:solidFill>
              </a:defRPr>
            </a:lvl1pPr>
          </a:lstStyle>
          <a:p>
            <a:r>
              <a:rPr lang="de-DE" dirty="0"/>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8" y="1773239"/>
            <a:ext cx="5071708"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a:xfrm>
            <a:off x="1171575" y="6443762"/>
            <a:ext cx="4524022"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grpSp>
        <p:nvGrpSpPr>
          <p:cNvPr id="13" name="Gruppieren 12">
            <a:extLst>
              <a:ext uri="{FF2B5EF4-FFF2-40B4-BE49-F238E27FC236}">
                <a16:creationId xmlns:a16="http://schemas.microsoft.com/office/drawing/2014/main" id="{1EF5992F-4C67-0FB3-9AB7-97ABF6B442B9}"/>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DE0DEF7B-BE01-9BE4-3581-6D72A1CC9F5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27D74CD8-AB59-78B8-800D-8B63D0F45A0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F3EC1BA8-7409-BD63-2627-0045279C51D4}"/>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F7E8DFFD-B4F4-66FE-579E-2731D34499E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455ACF-52A3-6110-2670-D15745A7CAE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CC531BF7-F84C-E720-384D-A422B400F93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2D287FD-97C6-E2C1-9AE7-746A1BEB8F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2A8C0372-D997-BC6D-D167-1D6E2730553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99F0F70-19BC-F2CF-1F61-043961742C4D}"/>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89A940C-5708-7792-C739-63A35D740E0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F65A651F-CE25-0575-BBC4-91FA723EE7F9}"/>
              </a:ext>
            </a:extLst>
          </p:cNvPr>
          <p:cNvGrpSpPr>
            <a:grpSpLocks/>
          </p:cNvGrpSpPr>
          <p:nvPr userDrawn="1"/>
        </p:nvGrpSpPr>
        <p:grpSpPr>
          <a:xfrm>
            <a:off x="623888" y="6972300"/>
            <a:ext cx="11233150" cy="144000"/>
            <a:chOff x="623888" y="0"/>
            <a:chExt cx="11233150" cy="6858000"/>
          </a:xfrm>
        </p:grpSpPr>
        <p:cxnSp>
          <p:nvCxnSpPr>
            <p:cNvPr id="26" name="Gerader Verbinder 25">
              <a:extLst>
                <a:ext uri="{FF2B5EF4-FFF2-40B4-BE49-F238E27FC236}">
                  <a16:creationId xmlns:a16="http://schemas.microsoft.com/office/drawing/2014/main" id="{5F84EDE1-5EF6-FAB1-12E4-23AC66F7E1FA}"/>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F314120-FD48-6D09-2821-55797FFA21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2003F5C0-28C6-6D1B-C918-467F467E8187}"/>
              </a:ext>
            </a:extLst>
          </p:cNvPr>
          <p:cNvGrpSpPr/>
          <p:nvPr userDrawn="1"/>
        </p:nvGrpSpPr>
        <p:grpSpPr>
          <a:xfrm>
            <a:off x="12301940" y="296863"/>
            <a:ext cx="144000" cy="6300787"/>
            <a:chOff x="0" y="296863"/>
            <a:chExt cx="12192000" cy="6300787"/>
          </a:xfrm>
        </p:grpSpPr>
        <p:cxnSp>
          <p:nvCxnSpPr>
            <p:cNvPr id="29" name="Gerader Verbinder 28">
              <a:extLst>
                <a:ext uri="{FF2B5EF4-FFF2-40B4-BE49-F238E27FC236}">
                  <a16:creationId xmlns:a16="http://schemas.microsoft.com/office/drawing/2014/main" id="{8CEB49B2-75BC-C7F7-F374-1FA0BA286B7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AEA641F-6331-CCF6-808C-682AF20955C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C8B3AA5-9C00-54F2-E8EC-E93F5A18EBAB}"/>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7BB8F1DE-876F-4C74-ED37-BDF409D8D4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20871AB2-AEB6-DA18-509E-936F4D2C59B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6AC13438-F8FE-7B48-194D-48FD16834A0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030BB9C-EDB3-F22A-403F-F03F07B0565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339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Spalten mit Bildern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2151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504384" cy="2949801"/>
          </a:xfrm>
        </p:spPr>
        <p:txBody>
          <a:bodyPr vert="horz">
            <a:noAutofit/>
          </a:bodyPr>
          <a:lstStyle>
            <a:lvl1pPr rtl="0">
              <a:defRPr sz="40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488271"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352654" y="3875313"/>
            <a:ext cx="3504383" cy="2254024"/>
          </a:xfrm>
        </p:spPr>
        <p:txBody>
          <a:bodyPr/>
          <a:lstStyle>
            <a:lvl1pPr rtl="0">
              <a:defRPr b="1"/>
            </a:lvl1pPr>
            <a:lvl2pPr marL="0" indent="0" rtl="0">
              <a:buNone/>
              <a:defRPr/>
            </a:lvl2pPr>
            <a:lvl3pPr marL="216000" rtl="0">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Tree>
    <p:extLst>
      <p:ext uri="{BB962C8B-B14F-4D97-AF65-F5344CB8AC3E}">
        <p14:creationId xmlns:p14="http://schemas.microsoft.com/office/powerpoint/2010/main" val="1656641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Claim">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83201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07149718-AE98-4F2A-E0CA-0EAEA193111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pic>
        <p:nvPicPr>
          <p:cNvPr id="9" name="Grafik 8">
            <a:extLst>
              <a:ext uri="{FF2B5EF4-FFF2-40B4-BE49-F238E27FC236}">
                <a16:creationId xmlns:a16="http://schemas.microsoft.com/office/drawing/2014/main" id="{1C73105D-DE3F-2F0A-2BE6-7AB429B014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5827599"/>
            <a:ext cx="1101392" cy="396501"/>
          </a:xfrm>
          <a:prstGeom prst="rect">
            <a:avLst/>
          </a:prstGeom>
        </p:spPr>
      </p:pic>
      <p:pic>
        <p:nvPicPr>
          <p:cNvPr id="14" name="Grafik 13">
            <a:extLst>
              <a:ext uri="{FF2B5EF4-FFF2-40B4-BE49-F238E27FC236}">
                <a16:creationId xmlns:a16="http://schemas.microsoft.com/office/drawing/2014/main" id="{D08BEFEA-A7AE-E04F-74D3-DAB7FE39EDC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invGray">
          <a:xfrm>
            <a:off x="9768114" y="497078"/>
            <a:ext cx="1915180" cy="598005"/>
          </a:xfrm>
          <a:prstGeom prst="rect">
            <a:avLst/>
          </a:prstGeom>
        </p:spPr>
      </p:pic>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623888" y="3687554"/>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EE06C485-4634-A9EB-1387-17B3259D1C11}"/>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invGray">
          <a:xfrm>
            <a:off x="623888" y="1886405"/>
            <a:ext cx="4773612" cy="1563971"/>
          </a:xfrm>
          <a:prstGeom prst="rect">
            <a:avLst/>
          </a:prstGeom>
        </p:spPr>
      </p:pic>
      <p:grpSp>
        <p:nvGrpSpPr>
          <p:cNvPr id="33" name="Gruppieren 32">
            <a:extLst>
              <a:ext uri="{FF2B5EF4-FFF2-40B4-BE49-F238E27FC236}">
                <a16:creationId xmlns:a16="http://schemas.microsoft.com/office/drawing/2014/main" id="{10011E6F-61E1-6E0D-31C4-D32706047B75}"/>
              </a:ext>
            </a:extLst>
          </p:cNvPr>
          <p:cNvGrpSpPr>
            <a:grpSpLocks/>
          </p:cNvGrpSpPr>
          <p:nvPr userDrawn="1"/>
        </p:nvGrpSpPr>
        <p:grpSpPr>
          <a:xfrm>
            <a:off x="623888" y="-254000"/>
            <a:ext cx="11233150" cy="144000"/>
            <a:chOff x="623888" y="0"/>
            <a:chExt cx="11233150" cy="6858000"/>
          </a:xfrm>
        </p:grpSpPr>
        <p:cxnSp>
          <p:nvCxnSpPr>
            <p:cNvPr id="34" name="Gerader Verbinder 33">
              <a:extLst>
                <a:ext uri="{FF2B5EF4-FFF2-40B4-BE49-F238E27FC236}">
                  <a16:creationId xmlns:a16="http://schemas.microsoft.com/office/drawing/2014/main" id="{6C446D8E-6411-5DFF-C933-BDAE11E633D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2A9A7FF-000C-DBB9-9234-CE205BB2B784}"/>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6" name="Gruppieren 35">
            <a:extLst>
              <a:ext uri="{FF2B5EF4-FFF2-40B4-BE49-F238E27FC236}">
                <a16:creationId xmlns:a16="http://schemas.microsoft.com/office/drawing/2014/main" id="{2BFE5E21-616A-1BBF-39E9-5F1EDCEB601F}"/>
              </a:ext>
            </a:extLst>
          </p:cNvPr>
          <p:cNvGrpSpPr/>
          <p:nvPr userDrawn="1"/>
        </p:nvGrpSpPr>
        <p:grpSpPr>
          <a:xfrm>
            <a:off x="-254000" y="296863"/>
            <a:ext cx="144000" cy="6300787"/>
            <a:chOff x="0" y="296863"/>
            <a:chExt cx="12192000" cy="6300787"/>
          </a:xfrm>
        </p:grpSpPr>
        <p:cxnSp>
          <p:nvCxnSpPr>
            <p:cNvPr id="37" name="Gerader Verbinder 36">
              <a:extLst>
                <a:ext uri="{FF2B5EF4-FFF2-40B4-BE49-F238E27FC236}">
                  <a16:creationId xmlns:a16="http://schemas.microsoft.com/office/drawing/2014/main" id="{2A587ADB-8B2A-5F78-CA78-68E5B64EBD7A}"/>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E10DCEB-BECC-F599-109D-4C464FB602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89049E46-A369-0EF4-81BF-AA560792DC61}"/>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47CAE44-F58C-671D-27FA-33F98182C12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613677F5-9F3F-0CCC-DEB8-000153E0561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438101A8-4EF8-1058-9A4C-E8C71B36ABA9}"/>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9E1254D-DB0B-0E25-B0EC-FFC2FBC9D2C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826E6BE5-C6D1-D4A5-18D2-35553AB28DB6}"/>
              </a:ext>
            </a:extLst>
          </p:cNvPr>
          <p:cNvGrpSpPr>
            <a:grpSpLocks/>
          </p:cNvGrpSpPr>
          <p:nvPr userDrawn="1"/>
        </p:nvGrpSpPr>
        <p:grpSpPr>
          <a:xfrm>
            <a:off x="623888" y="6972300"/>
            <a:ext cx="11233150" cy="144000"/>
            <a:chOff x="623888" y="0"/>
            <a:chExt cx="11233150" cy="6858000"/>
          </a:xfrm>
        </p:grpSpPr>
        <p:cxnSp>
          <p:nvCxnSpPr>
            <p:cNvPr id="45" name="Gerader Verbinder 44">
              <a:extLst>
                <a:ext uri="{FF2B5EF4-FFF2-40B4-BE49-F238E27FC236}">
                  <a16:creationId xmlns:a16="http://schemas.microsoft.com/office/drawing/2014/main" id="{02D73D62-6850-0FC4-CAFE-56D9731F5C3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F134DBBF-ED23-F474-F194-BE3B66E173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4D0BBFF0-59FB-57CD-5144-D162B241A292}"/>
              </a:ext>
            </a:extLst>
          </p:cNvPr>
          <p:cNvGrpSpPr/>
          <p:nvPr userDrawn="1"/>
        </p:nvGrpSpPr>
        <p:grpSpPr>
          <a:xfrm>
            <a:off x="12301940" y="296863"/>
            <a:ext cx="144000" cy="6300787"/>
            <a:chOff x="0" y="296863"/>
            <a:chExt cx="12192000" cy="6300787"/>
          </a:xfrm>
        </p:grpSpPr>
        <p:cxnSp>
          <p:nvCxnSpPr>
            <p:cNvPr id="48" name="Gerader Verbinder 47">
              <a:extLst>
                <a:ext uri="{FF2B5EF4-FFF2-40B4-BE49-F238E27FC236}">
                  <a16:creationId xmlns:a16="http://schemas.microsoft.com/office/drawing/2014/main" id="{7416A201-78E3-8AD3-76DB-6E2602134B1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4C991250-A581-18EA-0D31-2EDA7C9B582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A84EF059-6F31-C3CD-7A90-C16F944CE80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1063E63-04AA-7D9B-371E-8B2B5236916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912F60F3-3A76-8B54-B16B-274675D5E2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B5D2EDA-972C-B6DE-CE22-DD4D7D7D70DF}"/>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6CEA56F-A6D5-FAC6-BC6F-FD56AD4ED489}"/>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53850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3309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4009313-23A8-9A93-6068-BBCB7561C570}"/>
              </a:ext>
            </a:extLst>
          </p:cNvPr>
          <p:cNvSpPr>
            <a:spLocks noGrp="1"/>
          </p:cNvSpPr>
          <p:nvPr>
            <p:ph type="pic" sz="quarter" idx="17"/>
          </p:nvPr>
        </p:nvSpPr>
        <p:spPr bwMode="invGray">
          <a:xfrm>
            <a:off x="8352653"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623888" y="620713"/>
            <a:ext cx="3504384" cy="2949801"/>
          </a:xfrm>
        </p:spPr>
        <p:txBody>
          <a:bodyPr vert="horz">
            <a:noAutofit/>
          </a:bodyPr>
          <a:lstStyle>
            <a:lvl1pPr rtl="0">
              <a:defRPr sz="40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invGray">
          <a:xfrm>
            <a:off x="623889"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invGray">
          <a:xfrm>
            <a:off x="4488271"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invGray">
          <a:xfrm>
            <a:off x="8352654" y="3875313"/>
            <a:ext cx="3504383" cy="2254024"/>
          </a:xfrm>
        </p:spPr>
        <p:txBody>
          <a:bodyPr/>
          <a:lstStyle>
            <a:lvl1pPr rtl="0">
              <a:defRPr b="1">
                <a:solidFill>
                  <a:schemeClr val="bg1"/>
                </a:solidFill>
              </a:defRPr>
            </a:lvl1pPr>
            <a:lvl2pPr marL="0" indent="0" rtl="0">
              <a:buNone/>
              <a:defRPr>
                <a:solidFill>
                  <a:schemeClr val="bg1"/>
                </a:solidFill>
              </a:defRPr>
            </a:lvl2pPr>
            <a:lvl3pPr marL="216000" rtl="0">
              <a:buClr>
                <a:schemeClr val="bg1"/>
              </a:buClr>
              <a:defRPr>
                <a:solidFill>
                  <a:schemeClr val="bg1"/>
                </a:solidFill>
              </a:defRPr>
            </a:lvl3pPr>
          </a:lstStyle>
          <a:p>
            <a:pPr lvl="0"/>
            <a:r>
              <a:rPr lang="de-DE" dirty="0"/>
              <a:t>Mastertextformat bearbeiten</a:t>
            </a:r>
          </a:p>
          <a:p>
            <a:pPr lvl="1"/>
            <a:r>
              <a:rPr lang="de-DE" dirty="0"/>
              <a:t>Zweite Ebene</a:t>
            </a:r>
          </a:p>
          <a:p>
            <a:pPr lvl="2"/>
            <a:r>
              <a:rPr lang="de-DE" dirty="0"/>
              <a:t>Dritte Ebene</a:t>
            </a:r>
          </a:p>
        </p:txBody>
      </p:sp>
      <p:sp>
        <p:nvSpPr>
          <p:cNvPr id="6" name="Bildplatzhalter 5">
            <a:extLst>
              <a:ext uri="{FF2B5EF4-FFF2-40B4-BE49-F238E27FC236}">
                <a16:creationId xmlns:a16="http://schemas.microsoft.com/office/drawing/2014/main" id="{48972A90-FE1F-0748-9290-3E003B9A7B90}"/>
              </a:ext>
            </a:extLst>
          </p:cNvPr>
          <p:cNvSpPr>
            <a:spLocks noGrp="1"/>
          </p:cNvSpPr>
          <p:nvPr>
            <p:ph type="pic" sz="quarter" idx="16"/>
          </p:nvPr>
        </p:nvSpPr>
        <p:spPr bwMode="invGray">
          <a:xfrm>
            <a:off x="4488270" y="1362075"/>
            <a:ext cx="3504384" cy="2208439"/>
          </a:xfrm>
          <a:solidFill>
            <a:schemeClr val="bg1">
              <a:lumMod val="95000"/>
            </a:schemeClr>
          </a:solidFill>
        </p:spPr>
        <p:txBody>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durch Klicken auf Symbol hinzufügen</a:t>
            </a:r>
          </a:p>
          <a:p>
            <a:endParaRPr lang="de-DE" dirty="0"/>
          </a:p>
        </p:txBody>
      </p:sp>
      <p:pic>
        <p:nvPicPr>
          <p:cNvPr id="3" name="Grafik 2">
            <a:extLst>
              <a:ext uri="{FF2B5EF4-FFF2-40B4-BE49-F238E27FC236}">
                <a16:creationId xmlns:a16="http://schemas.microsoft.com/office/drawing/2014/main" id="{EBFAD2AB-38E6-AFCA-E8CD-EFE2518222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11" name="Grafik 10">
            <a:extLst>
              <a:ext uri="{FF2B5EF4-FFF2-40B4-BE49-F238E27FC236}">
                <a16:creationId xmlns:a16="http://schemas.microsoft.com/office/drawing/2014/main" id="{B3992078-AE43-4F3C-E51B-8C9F19540D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6" name="Gruppieren 15">
            <a:extLst>
              <a:ext uri="{FF2B5EF4-FFF2-40B4-BE49-F238E27FC236}">
                <a16:creationId xmlns:a16="http://schemas.microsoft.com/office/drawing/2014/main" id="{77B20D40-87A7-9236-1D9B-23E29AE59F45}"/>
              </a:ext>
            </a:extLst>
          </p:cNvPr>
          <p:cNvGrpSpPr>
            <a:grpSpLocks/>
          </p:cNvGrpSpPr>
          <p:nvPr userDrawn="1"/>
        </p:nvGrpSpPr>
        <p:grpSpPr>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5302E5E7-E692-BEFF-6863-8C90202FB2A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81123F6-4D94-4E28-AD6B-3F0FF76ED3F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 name="Gruppieren 18">
            <a:extLst>
              <a:ext uri="{FF2B5EF4-FFF2-40B4-BE49-F238E27FC236}">
                <a16:creationId xmlns:a16="http://schemas.microsoft.com/office/drawing/2014/main" id="{2B8C5368-9E47-655C-4155-1B71AC515600}"/>
              </a:ext>
            </a:extLst>
          </p:cNvPr>
          <p:cNvGrpSpPr/>
          <p:nvPr userDrawn="1"/>
        </p:nvGrpSpPr>
        <p:grpSpPr>
          <a:xfrm>
            <a:off x="-254000" y="296863"/>
            <a:ext cx="144000" cy="6300787"/>
            <a:chOff x="0" y="296863"/>
            <a:chExt cx="12192000" cy="6300787"/>
          </a:xfrm>
        </p:grpSpPr>
        <p:cxnSp>
          <p:nvCxnSpPr>
            <p:cNvPr id="20" name="Gerader Verbinder 19">
              <a:extLst>
                <a:ext uri="{FF2B5EF4-FFF2-40B4-BE49-F238E27FC236}">
                  <a16:creationId xmlns:a16="http://schemas.microsoft.com/office/drawing/2014/main" id="{8401BDB4-4E16-7166-63EA-BD1F9C9F5C63}"/>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19CC79F-DB95-EB27-204C-7E74548FED5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387CA29-1035-DC7E-92C7-533C7D1C09A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7A0C7D7-5E7D-396F-255C-480760B9923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A70E090-AA29-CD88-9BB7-94E8365E8F72}"/>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0674E9C-2276-BCF2-A82D-E4DC182F423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987BAE18-F913-DDF0-F4B4-68979D2DE52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5DA1E9B7-CC45-4484-ED17-8D2004C5AEAF}"/>
              </a:ext>
            </a:extLst>
          </p:cNvPr>
          <p:cNvGrpSpPr>
            <a:grpSpLocks/>
          </p:cNvGrpSpPr>
          <p:nvPr userDrawn="1"/>
        </p:nvGrpSpPr>
        <p:grpSpPr>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0BE83DB6-6431-24D7-E226-8100B72DDD74}"/>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B801006-2693-5F1C-F082-7C0F3A8CB83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 name="Gruppieren 29">
            <a:extLst>
              <a:ext uri="{FF2B5EF4-FFF2-40B4-BE49-F238E27FC236}">
                <a16:creationId xmlns:a16="http://schemas.microsoft.com/office/drawing/2014/main" id="{54AECA7F-94BC-8A25-C69C-87D4A4213821}"/>
              </a:ext>
            </a:extLst>
          </p:cNvPr>
          <p:cNvGrpSpPr/>
          <p:nvPr userDrawn="1"/>
        </p:nvGrpSpPr>
        <p:grpSpPr>
          <a:xfrm>
            <a:off x="12301940" y="296863"/>
            <a:ext cx="144000" cy="6300787"/>
            <a:chOff x="0" y="296863"/>
            <a:chExt cx="12192000" cy="6300787"/>
          </a:xfrm>
        </p:grpSpPr>
        <p:cxnSp>
          <p:nvCxnSpPr>
            <p:cNvPr id="31" name="Gerader Verbinder 30">
              <a:extLst>
                <a:ext uri="{FF2B5EF4-FFF2-40B4-BE49-F238E27FC236}">
                  <a16:creationId xmlns:a16="http://schemas.microsoft.com/office/drawing/2014/main" id="{B67AD4BD-171B-02C0-C4DB-192AEF9E79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813CB2C-AC04-100A-FBAE-49F0AC70D732}"/>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4831D5F-D25E-DC96-B11E-93F0C50C23C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2180BE8-D9AB-9818-27AE-DF33143983B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AE52EC5-368F-410A-8E47-AFD7EAD70094}"/>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CDFAA0C-1BF6-6B0A-E45A-EFA1BB39CDF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2A16BA81-90D6-CB24-8A40-BAAB1A580EE5}"/>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0038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54833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Bildplatzhalter 36">
            <a:extLst>
              <a:ext uri="{FF2B5EF4-FFF2-40B4-BE49-F238E27FC236}">
                <a16:creationId xmlns:a16="http://schemas.microsoft.com/office/drawing/2014/main" id="{41568275-4DEE-9DFE-06BA-1078917F2D65}"/>
              </a:ext>
            </a:extLst>
          </p:cNvPr>
          <p:cNvSpPr>
            <a:spLocks noGrp="1"/>
          </p:cNvSpPr>
          <p:nvPr>
            <p:ph type="pic" sz="quarter" idx="14"/>
          </p:nvPr>
        </p:nvSpPr>
        <p:spPr bwMode="gray">
          <a:xfrm>
            <a:off x="2" y="1"/>
            <a:ext cx="12191999" cy="6857999"/>
          </a:xfrm>
          <a:custGeom>
            <a:avLst/>
            <a:gdLst>
              <a:gd name="connsiteX0" fmla="*/ 11407825 w 12191999"/>
              <a:gd name="connsiteY0" fmla="*/ 6539628 h 6857999"/>
              <a:gd name="connsiteX1" fmla="*/ 11407825 w 12191999"/>
              <a:gd name="connsiteY1" fmla="*/ 6598965 h 6857999"/>
              <a:gd name="connsiteX2" fmla="*/ 11451842 w 12191999"/>
              <a:gd name="connsiteY2" fmla="*/ 6598965 h 6857999"/>
              <a:gd name="connsiteX3" fmla="*/ 11451842 w 12191999"/>
              <a:gd name="connsiteY3" fmla="*/ 6539628 h 6857999"/>
              <a:gd name="connsiteX4" fmla="*/ 11407874 w 12191999"/>
              <a:gd name="connsiteY4" fmla="*/ 6433666 h 6857999"/>
              <a:gd name="connsiteX5" fmla="*/ 11407874 w 12191999"/>
              <a:gd name="connsiteY5" fmla="*/ 6485013 h 6857999"/>
              <a:gd name="connsiteX6" fmla="*/ 11451842 w 12191999"/>
              <a:gd name="connsiteY6" fmla="*/ 6485013 h 6857999"/>
              <a:gd name="connsiteX7" fmla="*/ 11451842 w 12191999"/>
              <a:gd name="connsiteY7" fmla="*/ 6433666 h 6857999"/>
              <a:gd name="connsiteX8" fmla="*/ 11147021 w 12191999"/>
              <a:gd name="connsiteY8" fmla="*/ 6433522 h 6857999"/>
              <a:gd name="connsiteX9" fmla="*/ 11147021 w 12191999"/>
              <a:gd name="connsiteY9" fmla="*/ 6599025 h 6857999"/>
              <a:gd name="connsiteX10" fmla="*/ 11191001 w 12191999"/>
              <a:gd name="connsiteY10" fmla="*/ 6599025 h 6857999"/>
              <a:gd name="connsiteX11" fmla="*/ 11191001 w 12191999"/>
              <a:gd name="connsiteY11" fmla="*/ 6433522 h 6857999"/>
              <a:gd name="connsiteX12" fmla="*/ 11331702 w 12191999"/>
              <a:gd name="connsiteY12" fmla="*/ 6430879 h 6857999"/>
              <a:gd name="connsiteX13" fmla="*/ 11273710 w 12191999"/>
              <a:gd name="connsiteY13" fmla="*/ 6431143 h 6857999"/>
              <a:gd name="connsiteX14" fmla="*/ 11223589 w 12191999"/>
              <a:gd name="connsiteY14" fmla="*/ 6476000 h 6857999"/>
              <a:gd name="connsiteX15" fmla="*/ 11219131 w 12191999"/>
              <a:gd name="connsiteY15" fmla="*/ 6511870 h 6857999"/>
              <a:gd name="connsiteX16" fmla="*/ 11223241 w 12191999"/>
              <a:gd name="connsiteY16" fmla="*/ 6558998 h 6857999"/>
              <a:gd name="connsiteX17" fmla="*/ 11263316 w 12191999"/>
              <a:gd name="connsiteY17" fmla="*/ 6598340 h 6857999"/>
              <a:gd name="connsiteX18" fmla="*/ 11298836 w 12191999"/>
              <a:gd name="connsiteY18" fmla="*/ 6600803 h 6857999"/>
              <a:gd name="connsiteX19" fmla="*/ 11327472 w 12191999"/>
              <a:gd name="connsiteY19" fmla="*/ 6597210 h 6857999"/>
              <a:gd name="connsiteX20" fmla="*/ 11326438 w 12191999"/>
              <a:gd name="connsiteY20" fmla="*/ 6611150 h 6857999"/>
              <a:gd name="connsiteX21" fmla="*/ 11315107 w 12191999"/>
              <a:gd name="connsiteY21" fmla="*/ 6626351 h 6857999"/>
              <a:gd name="connsiteX22" fmla="*/ 11304928 w 12191999"/>
              <a:gd name="connsiteY22" fmla="*/ 6630267 h 6857999"/>
              <a:gd name="connsiteX23" fmla="*/ 11257896 w 12191999"/>
              <a:gd name="connsiteY23" fmla="*/ 6638415 h 6857999"/>
              <a:gd name="connsiteX24" fmla="*/ 11242744 w 12191999"/>
              <a:gd name="connsiteY24" fmla="*/ 6640218 h 6857999"/>
              <a:gd name="connsiteX25" fmla="*/ 11245111 w 12191999"/>
              <a:gd name="connsiteY25" fmla="*/ 6676411 h 6857999"/>
              <a:gd name="connsiteX26" fmla="*/ 11248571 w 12191999"/>
              <a:gd name="connsiteY26" fmla="*/ 6676411 h 6857999"/>
              <a:gd name="connsiteX27" fmla="*/ 11251023 w 12191999"/>
              <a:gd name="connsiteY27" fmla="*/ 6675931 h 6857999"/>
              <a:gd name="connsiteX28" fmla="*/ 11305000 w 12191999"/>
              <a:gd name="connsiteY28" fmla="*/ 6669453 h 6857999"/>
              <a:gd name="connsiteX29" fmla="*/ 11341567 w 12191999"/>
              <a:gd name="connsiteY29" fmla="*/ 6658579 h 6857999"/>
              <a:gd name="connsiteX30" fmla="*/ 11368147 w 12191999"/>
              <a:gd name="connsiteY30" fmla="*/ 6627936 h 6857999"/>
              <a:gd name="connsiteX31" fmla="*/ 11371764 w 12191999"/>
              <a:gd name="connsiteY31" fmla="*/ 6599193 h 6857999"/>
              <a:gd name="connsiteX32" fmla="*/ 11372389 w 12191999"/>
              <a:gd name="connsiteY32" fmla="*/ 6542223 h 6857999"/>
              <a:gd name="connsiteX33" fmla="*/ 11372209 w 12191999"/>
              <a:gd name="connsiteY33" fmla="*/ 6539628 h 6857999"/>
              <a:gd name="connsiteX34" fmla="*/ 11328073 w 12191999"/>
              <a:gd name="connsiteY34" fmla="*/ 6539628 h 6857999"/>
              <a:gd name="connsiteX35" fmla="*/ 11328073 w 12191999"/>
              <a:gd name="connsiteY35" fmla="*/ 6559791 h 6857999"/>
              <a:gd name="connsiteX36" fmla="*/ 11326234 w 12191999"/>
              <a:gd name="connsiteY36" fmla="*/ 6560500 h 6857999"/>
              <a:gd name="connsiteX37" fmla="*/ 11291074 w 12191999"/>
              <a:gd name="connsiteY37" fmla="*/ 6563336 h 6857999"/>
              <a:gd name="connsiteX38" fmla="*/ 11266669 w 12191999"/>
              <a:gd name="connsiteY38" fmla="*/ 6543653 h 6857999"/>
              <a:gd name="connsiteX39" fmla="*/ 11264181 w 12191999"/>
              <a:gd name="connsiteY39" fmla="*/ 6522024 h 6857999"/>
              <a:gd name="connsiteX40" fmla="*/ 11266464 w 12191999"/>
              <a:gd name="connsiteY40" fmla="*/ 6488534 h 6857999"/>
              <a:gd name="connsiteX41" fmla="*/ 11286520 w 12191999"/>
              <a:gd name="connsiteY41" fmla="*/ 6467757 h 6857999"/>
              <a:gd name="connsiteX42" fmla="*/ 11326282 w 12191999"/>
              <a:gd name="connsiteY42" fmla="*/ 6468418 h 6857999"/>
              <a:gd name="connsiteX43" fmla="*/ 11328024 w 12191999"/>
              <a:gd name="connsiteY43" fmla="*/ 6471098 h 6857999"/>
              <a:gd name="connsiteX44" fmla="*/ 11328024 w 12191999"/>
              <a:gd name="connsiteY44" fmla="*/ 6484928 h 6857999"/>
              <a:gd name="connsiteX45" fmla="*/ 11372413 w 12191999"/>
              <a:gd name="connsiteY45" fmla="*/ 6484928 h 6857999"/>
              <a:gd name="connsiteX46" fmla="*/ 11372413 w 12191999"/>
              <a:gd name="connsiteY46" fmla="*/ 6481852 h 6857999"/>
              <a:gd name="connsiteX47" fmla="*/ 11372473 w 12191999"/>
              <a:gd name="connsiteY47" fmla="*/ 6442991 h 6857999"/>
              <a:gd name="connsiteX48" fmla="*/ 11372473 w 12191999"/>
              <a:gd name="connsiteY48" fmla="*/ 6442979 h 6857999"/>
              <a:gd name="connsiteX49" fmla="*/ 11369613 w 12191999"/>
              <a:gd name="connsiteY49" fmla="*/ 6438893 h 6857999"/>
              <a:gd name="connsiteX50" fmla="*/ 11331702 w 12191999"/>
              <a:gd name="connsiteY50" fmla="*/ 6430879 h 6857999"/>
              <a:gd name="connsiteX51" fmla="*/ 11702361 w 12191999"/>
              <a:gd name="connsiteY51" fmla="*/ 6430085 h 6857999"/>
              <a:gd name="connsiteX52" fmla="*/ 11621514 w 12191999"/>
              <a:gd name="connsiteY52" fmla="*/ 6433859 h 6857999"/>
              <a:gd name="connsiteX53" fmla="*/ 11619183 w 12191999"/>
              <a:gd name="connsiteY53" fmla="*/ 6436851 h 6857999"/>
              <a:gd name="connsiteX54" fmla="*/ 11621262 w 12191999"/>
              <a:gd name="connsiteY54" fmla="*/ 6460055 h 6857999"/>
              <a:gd name="connsiteX55" fmla="*/ 11622043 w 12191999"/>
              <a:gd name="connsiteY55" fmla="*/ 6468022 h 6857999"/>
              <a:gd name="connsiteX56" fmla="*/ 11625264 w 12191999"/>
              <a:gd name="connsiteY56" fmla="*/ 6467865 h 6857999"/>
              <a:gd name="connsiteX57" fmla="*/ 11671840 w 12191999"/>
              <a:gd name="connsiteY57" fmla="*/ 6466147 h 6857999"/>
              <a:gd name="connsiteX58" fmla="*/ 11691619 w 12191999"/>
              <a:gd name="connsiteY58" fmla="*/ 6469211 h 6857999"/>
              <a:gd name="connsiteX59" fmla="*/ 11700066 w 12191999"/>
              <a:gd name="connsiteY59" fmla="*/ 6479101 h 6857999"/>
              <a:gd name="connsiteX60" fmla="*/ 11701568 w 12191999"/>
              <a:gd name="connsiteY60" fmla="*/ 6498699 h 6857999"/>
              <a:gd name="connsiteX61" fmla="*/ 11683471 w 12191999"/>
              <a:gd name="connsiteY61" fmla="*/ 6498687 h 6857999"/>
              <a:gd name="connsiteX62" fmla="*/ 11636259 w 12191999"/>
              <a:gd name="connsiteY62" fmla="*/ 6502533 h 6857999"/>
              <a:gd name="connsiteX63" fmla="*/ 11606194 w 12191999"/>
              <a:gd name="connsiteY63" fmla="*/ 6526854 h 6857999"/>
              <a:gd name="connsiteX64" fmla="*/ 11602529 w 12191999"/>
              <a:gd name="connsiteY64" fmla="*/ 6547967 h 6857999"/>
              <a:gd name="connsiteX65" fmla="*/ 11603261 w 12191999"/>
              <a:gd name="connsiteY65" fmla="*/ 6563624 h 6857999"/>
              <a:gd name="connsiteX66" fmla="*/ 11649321 w 12191999"/>
              <a:gd name="connsiteY66" fmla="*/ 6563624 h 6857999"/>
              <a:gd name="connsiteX67" fmla="*/ 11644863 w 12191999"/>
              <a:gd name="connsiteY67" fmla="*/ 6549276 h 6857999"/>
              <a:gd name="connsiteX68" fmla="*/ 11659150 w 12191999"/>
              <a:gd name="connsiteY68" fmla="*/ 6529750 h 6857999"/>
              <a:gd name="connsiteX69" fmla="*/ 11663693 w 12191999"/>
              <a:gd name="connsiteY69" fmla="*/ 6528993 h 6857999"/>
              <a:gd name="connsiteX70" fmla="*/ 11693602 w 12191999"/>
              <a:gd name="connsiteY70" fmla="*/ 6528500 h 6857999"/>
              <a:gd name="connsiteX71" fmla="*/ 11701148 w 12191999"/>
              <a:gd name="connsiteY71" fmla="*/ 6528873 h 6857999"/>
              <a:gd name="connsiteX72" fmla="*/ 11701148 w 12191999"/>
              <a:gd name="connsiteY72" fmla="*/ 6563637 h 6857999"/>
              <a:gd name="connsiteX73" fmla="*/ 11744864 w 12191999"/>
              <a:gd name="connsiteY73" fmla="*/ 6563637 h 6857999"/>
              <a:gd name="connsiteX74" fmla="*/ 11744864 w 12191999"/>
              <a:gd name="connsiteY74" fmla="*/ 6560007 h 6857999"/>
              <a:gd name="connsiteX75" fmla="*/ 11744779 w 12191999"/>
              <a:gd name="connsiteY75" fmla="*/ 6483150 h 6857999"/>
              <a:gd name="connsiteX76" fmla="*/ 11743013 w 12191999"/>
              <a:gd name="connsiteY76" fmla="*/ 6463707 h 6857999"/>
              <a:gd name="connsiteX77" fmla="*/ 11743025 w 12191999"/>
              <a:gd name="connsiteY77" fmla="*/ 6463720 h 6857999"/>
              <a:gd name="connsiteX78" fmla="*/ 11715327 w 12191999"/>
              <a:gd name="connsiteY78" fmla="*/ 6432633 h 6857999"/>
              <a:gd name="connsiteX79" fmla="*/ 11702361 w 12191999"/>
              <a:gd name="connsiteY79" fmla="*/ 6430085 h 6857999"/>
              <a:gd name="connsiteX80" fmla="*/ 11502107 w 12191999"/>
              <a:gd name="connsiteY80" fmla="*/ 6388965 h 6857999"/>
              <a:gd name="connsiteX81" fmla="*/ 11500797 w 12191999"/>
              <a:gd name="connsiteY81" fmla="*/ 6433378 h 6857999"/>
              <a:gd name="connsiteX82" fmla="*/ 11474709 w 12191999"/>
              <a:gd name="connsiteY82" fmla="*/ 6435733 h 6857999"/>
              <a:gd name="connsiteX83" fmla="*/ 11474709 w 12191999"/>
              <a:gd name="connsiteY83" fmla="*/ 6472828 h 6857999"/>
              <a:gd name="connsiteX84" fmla="*/ 11499884 w 12191999"/>
              <a:gd name="connsiteY84" fmla="*/ 6472828 h 6857999"/>
              <a:gd name="connsiteX85" fmla="*/ 11499884 w 12191999"/>
              <a:gd name="connsiteY85" fmla="*/ 6476325 h 6857999"/>
              <a:gd name="connsiteX86" fmla="*/ 11499968 w 12191999"/>
              <a:gd name="connsiteY86" fmla="*/ 6536780 h 6857999"/>
              <a:gd name="connsiteX87" fmla="*/ 11501747 w 12191999"/>
              <a:gd name="connsiteY87" fmla="*/ 6561125 h 6857999"/>
              <a:gd name="connsiteX88" fmla="*/ 11532881 w 12191999"/>
              <a:gd name="connsiteY88" fmla="*/ 6596609 h 6857999"/>
              <a:gd name="connsiteX89" fmla="*/ 11569063 w 12191999"/>
              <a:gd name="connsiteY89" fmla="*/ 6601248 h 6857999"/>
              <a:gd name="connsiteX90" fmla="*/ 11584564 w 12191999"/>
              <a:gd name="connsiteY90" fmla="*/ 6601284 h 6857999"/>
              <a:gd name="connsiteX91" fmla="*/ 11586522 w 12191999"/>
              <a:gd name="connsiteY91" fmla="*/ 6567698 h 6857999"/>
              <a:gd name="connsiteX92" fmla="*/ 11581283 w 12191999"/>
              <a:gd name="connsiteY92" fmla="*/ 6567013 h 6857999"/>
              <a:gd name="connsiteX93" fmla="*/ 11556902 w 12191999"/>
              <a:gd name="connsiteY93" fmla="*/ 6561678 h 6857999"/>
              <a:gd name="connsiteX94" fmla="*/ 11556914 w 12191999"/>
              <a:gd name="connsiteY94" fmla="*/ 6561678 h 6857999"/>
              <a:gd name="connsiteX95" fmla="*/ 11546267 w 12191999"/>
              <a:gd name="connsiteY95" fmla="*/ 6550118 h 6857999"/>
              <a:gd name="connsiteX96" fmla="*/ 11544453 w 12191999"/>
              <a:gd name="connsiteY96" fmla="*/ 6537933 h 6857999"/>
              <a:gd name="connsiteX97" fmla="*/ 11544284 w 12191999"/>
              <a:gd name="connsiteY97" fmla="*/ 6474318 h 6857999"/>
              <a:gd name="connsiteX98" fmla="*/ 11544477 w 12191999"/>
              <a:gd name="connsiteY98" fmla="*/ 6472623 h 6857999"/>
              <a:gd name="connsiteX99" fmla="*/ 11582689 w 12191999"/>
              <a:gd name="connsiteY99" fmla="*/ 6472623 h 6857999"/>
              <a:gd name="connsiteX100" fmla="*/ 11582689 w 12191999"/>
              <a:gd name="connsiteY100" fmla="*/ 6433366 h 6857999"/>
              <a:gd name="connsiteX101" fmla="*/ 11544212 w 12191999"/>
              <a:gd name="connsiteY101" fmla="*/ 6433366 h 6857999"/>
              <a:gd name="connsiteX102" fmla="*/ 11544212 w 12191999"/>
              <a:gd name="connsiteY102" fmla="*/ 6388965 h 6857999"/>
              <a:gd name="connsiteX103" fmla="*/ 11427713 w 12191999"/>
              <a:gd name="connsiteY103" fmla="*/ 6357614 h 6857999"/>
              <a:gd name="connsiteX104" fmla="*/ 11406155 w 12191999"/>
              <a:gd name="connsiteY104" fmla="*/ 6376132 h 6857999"/>
              <a:gd name="connsiteX105" fmla="*/ 11405723 w 12191999"/>
              <a:gd name="connsiteY105" fmla="*/ 6382008 h 6857999"/>
              <a:gd name="connsiteX106" fmla="*/ 11405987 w 12191999"/>
              <a:gd name="connsiteY106" fmla="*/ 6387583 h 6857999"/>
              <a:gd name="connsiteX107" fmla="*/ 11422149 w 12191999"/>
              <a:gd name="connsiteY107" fmla="*/ 6406065 h 6857999"/>
              <a:gd name="connsiteX108" fmla="*/ 11438672 w 12191999"/>
              <a:gd name="connsiteY108" fmla="*/ 6405704 h 6857999"/>
              <a:gd name="connsiteX109" fmla="*/ 11452791 w 12191999"/>
              <a:gd name="connsiteY109" fmla="*/ 6392282 h 6857999"/>
              <a:gd name="connsiteX110" fmla="*/ 11452719 w 12191999"/>
              <a:gd name="connsiteY110" fmla="*/ 6371565 h 6857999"/>
              <a:gd name="connsiteX111" fmla="*/ 11439128 w 12191999"/>
              <a:gd name="connsiteY111" fmla="*/ 6358660 h 6857999"/>
              <a:gd name="connsiteX112" fmla="*/ 11439117 w 12191999"/>
              <a:gd name="connsiteY112" fmla="*/ 6358660 h 6857999"/>
              <a:gd name="connsiteX113" fmla="*/ 11427713 w 12191999"/>
              <a:gd name="connsiteY113" fmla="*/ 6357614 h 6857999"/>
              <a:gd name="connsiteX114" fmla="*/ 11166715 w 12191999"/>
              <a:gd name="connsiteY114" fmla="*/ 6357614 h 6857999"/>
              <a:gd name="connsiteX115" fmla="*/ 11145687 w 12191999"/>
              <a:gd name="connsiteY115" fmla="*/ 6373969 h 6857999"/>
              <a:gd name="connsiteX116" fmla="*/ 11144617 w 12191999"/>
              <a:gd name="connsiteY116" fmla="*/ 6382032 h 6857999"/>
              <a:gd name="connsiteX117" fmla="*/ 11145458 w 12191999"/>
              <a:gd name="connsiteY117" fmla="*/ 6389950 h 6857999"/>
              <a:gd name="connsiteX118" fmla="*/ 11161344 w 12191999"/>
              <a:gd name="connsiteY118" fmla="*/ 6406101 h 6857999"/>
              <a:gd name="connsiteX119" fmla="*/ 11177578 w 12191999"/>
              <a:gd name="connsiteY119" fmla="*/ 6405752 h 6857999"/>
              <a:gd name="connsiteX120" fmla="*/ 11192082 w 12191999"/>
              <a:gd name="connsiteY120" fmla="*/ 6391645 h 6857999"/>
              <a:gd name="connsiteX121" fmla="*/ 11192046 w 12191999"/>
              <a:gd name="connsiteY121" fmla="*/ 6372298 h 6857999"/>
              <a:gd name="connsiteX122" fmla="*/ 11178119 w 12191999"/>
              <a:gd name="connsiteY122" fmla="*/ 6358648 h 6857999"/>
              <a:gd name="connsiteX123" fmla="*/ 11166715 w 12191999"/>
              <a:gd name="connsiteY123" fmla="*/ 6357614 h 6857999"/>
              <a:gd name="connsiteX124" fmla="*/ 11779459 w 12191999"/>
              <a:gd name="connsiteY124" fmla="*/ 6352483 h 6857999"/>
              <a:gd name="connsiteX125" fmla="*/ 11779459 w 12191999"/>
              <a:gd name="connsiteY125" fmla="*/ 6354718 h 6857999"/>
              <a:gd name="connsiteX126" fmla="*/ 11779531 w 12191999"/>
              <a:gd name="connsiteY126" fmla="*/ 6544110 h 6857999"/>
              <a:gd name="connsiteX127" fmla="*/ 11781298 w 12191999"/>
              <a:gd name="connsiteY127" fmla="*/ 6564417 h 6857999"/>
              <a:gd name="connsiteX128" fmla="*/ 11803900 w 12191999"/>
              <a:gd name="connsiteY128" fmla="*/ 6594314 h 6857999"/>
              <a:gd name="connsiteX129" fmla="*/ 11850320 w 12191999"/>
              <a:gd name="connsiteY129" fmla="*/ 6601068 h 6857999"/>
              <a:gd name="connsiteX130" fmla="*/ 11850788 w 12191999"/>
              <a:gd name="connsiteY130" fmla="*/ 6599445 h 6857999"/>
              <a:gd name="connsiteX131" fmla="*/ 11852663 w 12191999"/>
              <a:gd name="connsiteY131" fmla="*/ 6582298 h 6857999"/>
              <a:gd name="connsiteX132" fmla="*/ 11854369 w 12191999"/>
              <a:gd name="connsiteY132" fmla="*/ 6569897 h 6857999"/>
              <a:gd name="connsiteX133" fmla="*/ 11854369 w 12191999"/>
              <a:gd name="connsiteY133" fmla="*/ 6568167 h 6857999"/>
              <a:gd name="connsiteX134" fmla="*/ 11838388 w 12191999"/>
              <a:gd name="connsiteY134" fmla="*/ 6564682 h 6857999"/>
              <a:gd name="connsiteX135" fmla="*/ 11838400 w 12191999"/>
              <a:gd name="connsiteY135" fmla="*/ 6564682 h 6857999"/>
              <a:gd name="connsiteX136" fmla="*/ 11824472 w 12191999"/>
              <a:gd name="connsiteY136" fmla="*/ 6547991 h 6857999"/>
              <a:gd name="connsiteX137" fmla="*/ 11823872 w 12191999"/>
              <a:gd name="connsiteY137" fmla="*/ 6537380 h 6857999"/>
              <a:gd name="connsiteX138" fmla="*/ 11823848 w 12191999"/>
              <a:gd name="connsiteY138" fmla="*/ 6356052 h 6857999"/>
              <a:gd name="connsiteX139" fmla="*/ 11823848 w 12191999"/>
              <a:gd name="connsiteY139" fmla="*/ 6352483 h 6857999"/>
              <a:gd name="connsiteX140" fmla="*/ 11067447 w 12191999"/>
              <a:gd name="connsiteY140" fmla="*/ 6352423 h 6857999"/>
              <a:gd name="connsiteX141" fmla="*/ 11067447 w 12191999"/>
              <a:gd name="connsiteY141" fmla="*/ 6431984 h 6857999"/>
              <a:gd name="connsiteX142" fmla="*/ 11024609 w 12191999"/>
              <a:gd name="connsiteY142" fmla="*/ 6429364 h 6857999"/>
              <a:gd name="connsiteX143" fmla="*/ 11024609 w 12191999"/>
              <a:gd name="connsiteY143" fmla="*/ 6467192 h 6857999"/>
              <a:gd name="connsiteX144" fmla="*/ 11025342 w 12191999"/>
              <a:gd name="connsiteY144" fmla="*/ 6467301 h 6857999"/>
              <a:gd name="connsiteX145" fmla="*/ 11065044 w 12191999"/>
              <a:gd name="connsiteY145" fmla="*/ 6467937 h 6857999"/>
              <a:gd name="connsiteX146" fmla="*/ 11067519 w 12191999"/>
              <a:gd name="connsiteY146" fmla="*/ 6470641 h 6857999"/>
              <a:gd name="connsiteX147" fmla="*/ 11067508 w 12191999"/>
              <a:gd name="connsiteY147" fmla="*/ 6562171 h 6857999"/>
              <a:gd name="connsiteX148" fmla="*/ 11065285 w 12191999"/>
              <a:gd name="connsiteY148" fmla="*/ 6564790 h 6857999"/>
              <a:gd name="connsiteX149" fmla="*/ 11031494 w 12191999"/>
              <a:gd name="connsiteY149" fmla="*/ 6567457 h 6857999"/>
              <a:gd name="connsiteX150" fmla="*/ 11004733 w 12191999"/>
              <a:gd name="connsiteY150" fmla="*/ 6545216 h 6857999"/>
              <a:gd name="connsiteX151" fmla="*/ 11002342 w 12191999"/>
              <a:gd name="connsiteY151" fmla="*/ 6525015 h 6857999"/>
              <a:gd name="connsiteX152" fmla="*/ 11009348 w 12191999"/>
              <a:gd name="connsiteY152" fmla="*/ 6477767 h 6857999"/>
              <a:gd name="connsiteX153" fmla="*/ 10963180 w 12191999"/>
              <a:gd name="connsiteY153" fmla="*/ 6477731 h 6857999"/>
              <a:gd name="connsiteX154" fmla="*/ 10960873 w 12191999"/>
              <a:gd name="connsiteY154" fmla="*/ 6479941 h 6857999"/>
              <a:gd name="connsiteX155" fmla="*/ 10957400 w 12191999"/>
              <a:gd name="connsiteY155" fmla="*/ 6528272 h 6857999"/>
              <a:gd name="connsiteX156" fmla="*/ 10961162 w 12191999"/>
              <a:gd name="connsiteY156" fmla="*/ 6557856 h 6857999"/>
              <a:gd name="connsiteX157" fmla="*/ 10995312 w 12191999"/>
              <a:gd name="connsiteY157" fmla="*/ 6597823 h 6857999"/>
              <a:gd name="connsiteX158" fmla="*/ 11019502 w 12191999"/>
              <a:gd name="connsiteY158" fmla="*/ 6602606 h 6857999"/>
              <a:gd name="connsiteX159" fmla="*/ 11062893 w 12191999"/>
              <a:gd name="connsiteY159" fmla="*/ 6602041 h 6857999"/>
              <a:gd name="connsiteX160" fmla="*/ 11108448 w 12191999"/>
              <a:gd name="connsiteY160" fmla="*/ 6592656 h 6857999"/>
              <a:gd name="connsiteX161" fmla="*/ 11111439 w 12191999"/>
              <a:gd name="connsiteY161" fmla="*/ 6588451 h 6857999"/>
              <a:gd name="connsiteX162" fmla="*/ 11111380 w 12191999"/>
              <a:gd name="connsiteY162" fmla="*/ 6355595 h 6857999"/>
              <a:gd name="connsiteX163" fmla="*/ 11111380 w 12191999"/>
              <a:gd name="connsiteY163" fmla="*/ 6352423 h 6857999"/>
              <a:gd name="connsiteX164" fmla="*/ 10764520 w 12191999"/>
              <a:gd name="connsiteY164" fmla="*/ 454510 h 6857999"/>
              <a:gd name="connsiteX165" fmla="*/ 10704520 w 12191999"/>
              <a:gd name="connsiteY165" fmla="*/ 514510 h 6857999"/>
              <a:gd name="connsiteX166" fmla="*/ 10764520 w 12191999"/>
              <a:gd name="connsiteY166" fmla="*/ 574510 h 6857999"/>
              <a:gd name="connsiteX167" fmla="*/ 10824520 w 12191999"/>
              <a:gd name="connsiteY167" fmla="*/ 514510 h 6857999"/>
              <a:gd name="connsiteX168" fmla="*/ 10764520 w 12191999"/>
              <a:gd name="connsiteY168" fmla="*/ 454510 h 6857999"/>
              <a:gd name="connsiteX169" fmla="*/ 11703579 w 12191999"/>
              <a:gd name="connsiteY169" fmla="*/ 338981 h 6857999"/>
              <a:gd name="connsiteX170" fmla="*/ 11807108 w 12191999"/>
              <a:gd name="connsiteY170" fmla="*/ 338981 h 6857999"/>
              <a:gd name="connsiteX171" fmla="*/ 11807108 w 12191999"/>
              <a:gd name="connsiteY171" fmla="*/ 530745 h 6857999"/>
              <a:gd name="connsiteX172" fmla="*/ 11701461 w 12191999"/>
              <a:gd name="connsiteY172" fmla="*/ 530745 h 6857999"/>
              <a:gd name="connsiteX173" fmla="*/ 11637696 w 12191999"/>
              <a:gd name="connsiteY173" fmla="*/ 492628 h 6857999"/>
              <a:gd name="connsiteX174" fmla="*/ 11637696 w 12191999"/>
              <a:gd name="connsiteY174" fmla="*/ 432863 h 6857999"/>
              <a:gd name="connsiteX175" fmla="*/ 11637696 w 12191999"/>
              <a:gd name="connsiteY175" fmla="*/ 383687 h 6857999"/>
              <a:gd name="connsiteX176" fmla="*/ 11703579 w 12191999"/>
              <a:gd name="connsiteY176" fmla="*/ 338981 h 6857999"/>
              <a:gd name="connsiteX177" fmla="*/ 11686167 w 12191999"/>
              <a:gd name="connsiteY177" fmla="*/ 296863 h 6857999"/>
              <a:gd name="connsiteX178" fmla="*/ 11612284 w 12191999"/>
              <a:gd name="connsiteY178" fmla="*/ 313804 h 6857999"/>
              <a:gd name="connsiteX179" fmla="*/ 11586402 w 12191999"/>
              <a:gd name="connsiteY179" fmla="*/ 384392 h 6857999"/>
              <a:gd name="connsiteX180" fmla="*/ 11586402 w 12191999"/>
              <a:gd name="connsiteY180" fmla="*/ 483922 h 6857999"/>
              <a:gd name="connsiteX181" fmla="*/ 11613931 w 12191999"/>
              <a:gd name="connsiteY181" fmla="*/ 558275 h 6857999"/>
              <a:gd name="connsiteX182" fmla="*/ 11686402 w 12191999"/>
              <a:gd name="connsiteY182" fmla="*/ 572628 h 6857999"/>
              <a:gd name="connsiteX183" fmla="*/ 11807108 w 12191999"/>
              <a:gd name="connsiteY183" fmla="*/ 572628 h 6857999"/>
              <a:gd name="connsiteX184" fmla="*/ 11807108 w 12191999"/>
              <a:gd name="connsiteY184" fmla="*/ 583216 h 6857999"/>
              <a:gd name="connsiteX185" fmla="*/ 11779108 w 12191999"/>
              <a:gd name="connsiteY185" fmla="*/ 613098 h 6857999"/>
              <a:gd name="connsiteX186" fmla="*/ 11621696 w 12191999"/>
              <a:gd name="connsiteY186" fmla="*/ 613098 h 6857999"/>
              <a:gd name="connsiteX187" fmla="*/ 11621696 w 12191999"/>
              <a:gd name="connsiteY187" fmla="*/ 657334 h 6857999"/>
              <a:gd name="connsiteX188" fmla="*/ 11795343 w 12191999"/>
              <a:gd name="connsiteY188" fmla="*/ 657334 h 6857999"/>
              <a:gd name="connsiteX189" fmla="*/ 11857226 w 12191999"/>
              <a:gd name="connsiteY189" fmla="*/ 597098 h 6857999"/>
              <a:gd name="connsiteX190" fmla="*/ 11857226 w 12191999"/>
              <a:gd name="connsiteY190" fmla="*/ 296863 h 6857999"/>
              <a:gd name="connsiteX191" fmla="*/ 11351579 w 12191999"/>
              <a:gd name="connsiteY191" fmla="*/ 296863 h 6857999"/>
              <a:gd name="connsiteX192" fmla="*/ 11280755 w 12191999"/>
              <a:gd name="connsiteY192" fmla="*/ 373334 h 6857999"/>
              <a:gd name="connsiteX193" fmla="*/ 11348049 w 12191999"/>
              <a:gd name="connsiteY193" fmla="*/ 452863 h 6857999"/>
              <a:gd name="connsiteX194" fmla="*/ 11467814 w 12191999"/>
              <a:gd name="connsiteY194" fmla="*/ 452863 h 6857999"/>
              <a:gd name="connsiteX195" fmla="*/ 11504520 w 12191999"/>
              <a:gd name="connsiteY195" fmla="*/ 494039 h 6857999"/>
              <a:gd name="connsiteX196" fmla="*/ 11468755 w 12191999"/>
              <a:gd name="connsiteY196" fmla="*/ 530745 h 6857999"/>
              <a:gd name="connsiteX197" fmla="*/ 11285461 w 12191999"/>
              <a:gd name="connsiteY197" fmla="*/ 530745 h 6857999"/>
              <a:gd name="connsiteX198" fmla="*/ 11285461 w 12191999"/>
              <a:gd name="connsiteY198" fmla="*/ 572863 h 6857999"/>
              <a:gd name="connsiteX199" fmla="*/ 11489932 w 12191999"/>
              <a:gd name="connsiteY199" fmla="*/ 572863 h 6857999"/>
              <a:gd name="connsiteX200" fmla="*/ 11555579 w 12191999"/>
              <a:gd name="connsiteY200" fmla="*/ 494510 h 6857999"/>
              <a:gd name="connsiteX201" fmla="*/ 11493226 w 12191999"/>
              <a:gd name="connsiteY201" fmla="*/ 411216 h 6857999"/>
              <a:gd name="connsiteX202" fmla="*/ 11363814 w 12191999"/>
              <a:gd name="connsiteY202" fmla="*/ 411216 h 6857999"/>
              <a:gd name="connsiteX203" fmla="*/ 11331108 w 12191999"/>
              <a:gd name="connsiteY203" fmla="*/ 374510 h 6857999"/>
              <a:gd name="connsiteX204" fmla="*/ 11369226 w 12191999"/>
              <a:gd name="connsiteY204" fmla="*/ 338981 h 6857999"/>
              <a:gd name="connsiteX205" fmla="*/ 11545932 w 12191999"/>
              <a:gd name="connsiteY205" fmla="*/ 338981 h 6857999"/>
              <a:gd name="connsiteX206" fmla="*/ 11545932 w 12191999"/>
              <a:gd name="connsiteY206" fmla="*/ 297098 h 6857999"/>
              <a:gd name="connsiteX207" fmla="*/ 10863343 w 12191999"/>
              <a:gd name="connsiteY207" fmla="*/ 296863 h 6857999"/>
              <a:gd name="connsiteX208" fmla="*/ 10863343 w 12191999"/>
              <a:gd name="connsiteY208" fmla="*/ 572628 h 6857999"/>
              <a:gd name="connsiteX209" fmla="*/ 10913696 w 12191999"/>
              <a:gd name="connsiteY209" fmla="*/ 572628 h 6857999"/>
              <a:gd name="connsiteX210" fmla="*/ 10913696 w 12191999"/>
              <a:gd name="connsiteY210" fmla="*/ 338745 h 6857999"/>
              <a:gd name="connsiteX211" fmla="*/ 11028990 w 12191999"/>
              <a:gd name="connsiteY211" fmla="*/ 338745 h 6857999"/>
              <a:gd name="connsiteX212" fmla="*/ 11028990 w 12191999"/>
              <a:gd name="connsiteY212" fmla="*/ 572628 h 6857999"/>
              <a:gd name="connsiteX213" fmla="*/ 11079578 w 12191999"/>
              <a:gd name="connsiteY213" fmla="*/ 572628 h 6857999"/>
              <a:gd name="connsiteX214" fmla="*/ 11079578 w 12191999"/>
              <a:gd name="connsiteY214" fmla="*/ 338745 h 6857999"/>
              <a:gd name="connsiteX215" fmla="*/ 11156284 w 12191999"/>
              <a:gd name="connsiteY215" fmla="*/ 338745 h 6857999"/>
              <a:gd name="connsiteX216" fmla="*/ 11200520 w 12191999"/>
              <a:gd name="connsiteY216" fmla="*/ 387922 h 6857999"/>
              <a:gd name="connsiteX217" fmla="*/ 11200520 w 12191999"/>
              <a:gd name="connsiteY217" fmla="*/ 572628 h 6857999"/>
              <a:gd name="connsiteX218" fmla="*/ 11250873 w 12191999"/>
              <a:gd name="connsiteY218" fmla="*/ 572628 h 6857999"/>
              <a:gd name="connsiteX219" fmla="*/ 11250873 w 12191999"/>
              <a:gd name="connsiteY219" fmla="*/ 374039 h 6857999"/>
              <a:gd name="connsiteX220" fmla="*/ 11181696 w 12191999"/>
              <a:gd name="connsiteY220" fmla="*/ 296863 h 6857999"/>
              <a:gd name="connsiteX221" fmla="*/ 0 w 12191999"/>
              <a:gd name="connsiteY221" fmla="*/ 0 h 6857999"/>
              <a:gd name="connsiteX222" fmla="*/ 12191999 w 12191999"/>
              <a:gd name="connsiteY222" fmla="*/ 0 h 6857999"/>
              <a:gd name="connsiteX223" fmla="*/ 12191999 w 12191999"/>
              <a:gd name="connsiteY223" fmla="*/ 6857999 h 6857999"/>
              <a:gd name="connsiteX224" fmla="*/ 0 w 12191999"/>
              <a:gd name="connsiteY22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2191999" h="6857999">
                <a:moveTo>
                  <a:pt x="11407825" y="6539628"/>
                </a:moveTo>
                <a:lnTo>
                  <a:pt x="11407825" y="6598965"/>
                </a:lnTo>
                <a:lnTo>
                  <a:pt x="11451842" y="6598965"/>
                </a:lnTo>
                <a:lnTo>
                  <a:pt x="11451842" y="6539628"/>
                </a:lnTo>
                <a:close/>
                <a:moveTo>
                  <a:pt x="11407874" y="6433666"/>
                </a:moveTo>
                <a:lnTo>
                  <a:pt x="11407874" y="6485013"/>
                </a:lnTo>
                <a:lnTo>
                  <a:pt x="11451842" y="6485013"/>
                </a:lnTo>
                <a:lnTo>
                  <a:pt x="11451842" y="6433666"/>
                </a:lnTo>
                <a:close/>
                <a:moveTo>
                  <a:pt x="11147021" y="6433522"/>
                </a:moveTo>
                <a:lnTo>
                  <a:pt x="11147021" y="6599025"/>
                </a:lnTo>
                <a:lnTo>
                  <a:pt x="11191001" y="6599025"/>
                </a:lnTo>
                <a:lnTo>
                  <a:pt x="11191001" y="6433522"/>
                </a:lnTo>
                <a:close/>
                <a:moveTo>
                  <a:pt x="11331702" y="6430879"/>
                </a:moveTo>
                <a:cubicBezTo>
                  <a:pt x="11312367" y="6428764"/>
                  <a:pt x="11293032" y="6428127"/>
                  <a:pt x="11273710" y="6431143"/>
                </a:cubicBezTo>
                <a:cubicBezTo>
                  <a:pt x="11247298" y="6435264"/>
                  <a:pt x="11230186" y="6449709"/>
                  <a:pt x="11223589" y="6476000"/>
                </a:cubicBezTo>
                <a:cubicBezTo>
                  <a:pt x="11220634" y="6487788"/>
                  <a:pt x="11219383" y="6499769"/>
                  <a:pt x="11219131" y="6511870"/>
                </a:cubicBezTo>
                <a:cubicBezTo>
                  <a:pt x="11218795" y="6527720"/>
                  <a:pt x="11219191" y="6543521"/>
                  <a:pt x="11223241" y="6558998"/>
                </a:cubicBezTo>
                <a:cubicBezTo>
                  <a:pt x="11228769" y="6580075"/>
                  <a:pt x="11241602" y="6593654"/>
                  <a:pt x="11263316" y="6598340"/>
                </a:cubicBezTo>
                <a:cubicBezTo>
                  <a:pt x="11275056" y="6600875"/>
                  <a:pt x="11286952" y="6601573"/>
                  <a:pt x="11298836" y="6600803"/>
                </a:cubicBezTo>
                <a:cubicBezTo>
                  <a:pt x="11308245" y="6600190"/>
                  <a:pt x="11317594" y="6598497"/>
                  <a:pt x="11327472" y="6597210"/>
                </a:cubicBezTo>
                <a:cubicBezTo>
                  <a:pt x="11327171" y="6601476"/>
                  <a:pt x="11327027" y="6606343"/>
                  <a:pt x="11326438" y="6611150"/>
                </a:cubicBezTo>
                <a:cubicBezTo>
                  <a:pt x="11325561" y="6618288"/>
                  <a:pt x="11321560" y="6623346"/>
                  <a:pt x="11315107" y="6626351"/>
                </a:cubicBezTo>
                <a:cubicBezTo>
                  <a:pt x="11311814" y="6627876"/>
                  <a:pt x="11308413" y="6629270"/>
                  <a:pt x="11304928" y="6630267"/>
                </a:cubicBezTo>
                <a:cubicBezTo>
                  <a:pt x="11289547" y="6634654"/>
                  <a:pt x="11273698" y="6636408"/>
                  <a:pt x="11257896" y="6638415"/>
                </a:cubicBezTo>
                <a:cubicBezTo>
                  <a:pt x="11252898" y="6639051"/>
                  <a:pt x="11247886" y="6639605"/>
                  <a:pt x="11242744" y="6640218"/>
                </a:cubicBezTo>
                <a:cubicBezTo>
                  <a:pt x="11243548" y="6652523"/>
                  <a:pt x="11244330" y="6664467"/>
                  <a:pt x="11245111" y="6676411"/>
                </a:cubicBezTo>
                <a:lnTo>
                  <a:pt x="11248571" y="6676411"/>
                </a:lnTo>
                <a:cubicBezTo>
                  <a:pt x="11249389" y="6676243"/>
                  <a:pt x="11250194" y="6675978"/>
                  <a:pt x="11251023" y="6675931"/>
                </a:cubicBezTo>
                <a:cubicBezTo>
                  <a:pt x="11269144" y="6674885"/>
                  <a:pt x="11287180" y="6673010"/>
                  <a:pt x="11305000" y="6669453"/>
                </a:cubicBezTo>
                <a:cubicBezTo>
                  <a:pt x="11317510" y="6666954"/>
                  <a:pt x="11329971" y="6664166"/>
                  <a:pt x="11341567" y="6658579"/>
                </a:cubicBezTo>
                <a:cubicBezTo>
                  <a:pt x="11354809" y="6652198"/>
                  <a:pt x="11364843" y="6642621"/>
                  <a:pt x="11368147" y="6627936"/>
                </a:cubicBezTo>
                <a:cubicBezTo>
                  <a:pt x="11370262" y="6618552"/>
                  <a:pt x="11371428" y="6608819"/>
                  <a:pt x="11371764" y="6599193"/>
                </a:cubicBezTo>
                <a:cubicBezTo>
                  <a:pt x="11372437" y="6580219"/>
                  <a:pt x="11372245" y="6561221"/>
                  <a:pt x="11372389" y="6542223"/>
                </a:cubicBezTo>
                <a:cubicBezTo>
                  <a:pt x="11372401" y="6541394"/>
                  <a:pt x="11372281" y="6540553"/>
                  <a:pt x="11372209" y="6539628"/>
                </a:cubicBezTo>
                <a:lnTo>
                  <a:pt x="11328073" y="6539628"/>
                </a:lnTo>
                <a:lnTo>
                  <a:pt x="11328073" y="6559791"/>
                </a:lnTo>
                <a:cubicBezTo>
                  <a:pt x="11327292" y="6560092"/>
                  <a:pt x="11326787" y="6560368"/>
                  <a:pt x="11326234" y="6560500"/>
                </a:cubicBezTo>
                <a:cubicBezTo>
                  <a:pt x="11314662" y="6563216"/>
                  <a:pt x="11302898" y="6564381"/>
                  <a:pt x="11291074" y="6563336"/>
                </a:cubicBezTo>
                <a:cubicBezTo>
                  <a:pt x="11277135" y="6562110"/>
                  <a:pt x="11269564" y="6556138"/>
                  <a:pt x="11266669" y="6543653"/>
                </a:cubicBezTo>
                <a:cubicBezTo>
                  <a:pt x="11265034" y="6536623"/>
                  <a:pt x="11264457" y="6529269"/>
                  <a:pt x="11264181" y="6522024"/>
                </a:cubicBezTo>
                <a:cubicBezTo>
                  <a:pt x="11263748" y="6510812"/>
                  <a:pt x="11263977" y="6499577"/>
                  <a:pt x="11266464" y="6488534"/>
                </a:cubicBezTo>
                <a:cubicBezTo>
                  <a:pt x="11268928" y="6477563"/>
                  <a:pt x="11275104" y="6470064"/>
                  <a:pt x="11286520" y="6467757"/>
                </a:cubicBezTo>
                <a:cubicBezTo>
                  <a:pt x="11299810" y="6465065"/>
                  <a:pt x="11313052" y="6466039"/>
                  <a:pt x="11326282" y="6468418"/>
                </a:cubicBezTo>
                <a:cubicBezTo>
                  <a:pt x="11328073" y="6468743"/>
                  <a:pt x="11328024" y="6469800"/>
                  <a:pt x="11328024" y="6471098"/>
                </a:cubicBezTo>
                <a:cubicBezTo>
                  <a:pt x="11328024" y="6475676"/>
                  <a:pt x="11328024" y="6480255"/>
                  <a:pt x="11328024" y="6484928"/>
                </a:cubicBezTo>
                <a:lnTo>
                  <a:pt x="11372413" y="6484928"/>
                </a:lnTo>
                <a:lnTo>
                  <a:pt x="11372413" y="6481852"/>
                </a:lnTo>
                <a:cubicBezTo>
                  <a:pt x="11372413" y="6468898"/>
                  <a:pt x="11372341" y="6455945"/>
                  <a:pt x="11372473" y="6442991"/>
                </a:cubicBezTo>
                <a:lnTo>
                  <a:pt x="11372473" y="6442979"/>
                </a:lnTo>
                <a:cubicBezTo>
                  <a:pt x="11372498" y="6440660"/>
                  <a:pt x="11371776" y="6439651"/>
                  <a:pt x="11369613" y="6438893"/>
                </a:cubicBezTo>
                <a:cubicBezTo>
                  <a:pt x="11357320" y="6434568"/>
                  <a:pt x="11344595" y="6432296"/>
                  <a:pt x="11331702" y="6430879"/>
                </a:cubicBezTo>
                <a:close/>
                <a:moveTo>
                  <a:pt x="11702361" y="6430085"/>
                </a:moveTo>
                <a:cubicBezTo>
                  <a:pt x="11675228" y="6427298"/>
                  <a:pt x="11648311" y="6429172"/>
                  <a:pt x="11621514" y="6433859"/>
                </a:cubicBezTo>
                <a:cubicBezTo>
                  <a:pt x="11619520" y="6434207"/>
                  <a:pt x="11619003" y="6434952"/>
                  <a:pt x="11619183" y="6436851"/>
                </a:cubicBezTo>
                <a:cubicBezTo>
                  <a:pt x="11619940" y="6444578"/>
                  <a:pt x="11620566" y="6452316"/>
                  <a:pt x="11621262" y="6460055"/>
                </a:cubicBezTo>
                <a:cubicBezTo>
                  <a:pt x="11621503" y="6462687"/>
                  <a:pt x="11621779" y="6465305"/>
                  <a:pt x="11622043" y="6468022"/>
                </a:cubicBezTo>
                <a:cubicBezTo>
                  <a:pt x="11623365" y="6467961"/>
                  <a:pt x="11624314" y="6467914"/>
                  <a:pt x="11625264" y="6467865"/>
                </a:cubicBezTo>
                <a:cubicBezTo>
                  <a:pt x="11640789" y="6467228"/>
                  <a:pt x="11656315" y="6466219"/>
                  <a:pt x="11671840" y="6466147"/>
                </a:cubicBezTo>
                <a:cubicBezTo>
                  <a:pt x="11678437" y="6466111"/>
                  <a:pt x="11685130" y="6467661"/>
                  <a:pt x="11691619" y="6469211"/>
                </a:cubicBezTo>
                <a:cubicBezTo>
                  <a:pt x="11696425" y="6470364"/>
                  <a:pt x="11699514" y="6474042"/>
                  <a:pt x="11700066" y="6479101"/>
                </a:cubicBezTo>
                <a:cubicBezTo>
                  <a:pt x="11700763" y="6485637"/>
                  <a:pt x="11701088" y="6492223"/>
                  <a:pt x="11701568" y="6498699"/>
                </a:cubicBezTo>
                <a:cubicBezTo>
                  <a:pt x="11694971" y="6498699"/>
                  <a:pt x="11689228" y="6498784"/>
                  <a:pt x="11683471" y="6498687"/>
                </a:cubicBezTo>
                <a:cubicBezTo>
                  <a:pt x="11667610" y="6498411"/>
                  <a:pt x="11651796" y="6498759"/>
                  <a:pt x="11636259" y="6502533"/>
                </a:cubicBezTo>
                <a:cubicBezTo>
                  <a:pt x="11622380" y="6505909"/>
                  <a:pt x="11611781" y="6513323"/>
                  <a:pt x="11606194" y="6526854"/>
                </a:cubicBezTo>
                <a:cubicBezTo>
                  <a:pt x="11603405" y="6533596"/>
                  <a:pt x="11602493" y="6540733"/>
                  <a:pt x="11602529" y="6547967"/>
                </a:cubicBezTo>
                <a:cubicBezTo>
                  <a:pt x="11602565" y="6553206"/>
                  <a:pt x="11602998" y="6558433"/>
                  <a:pt x="11603261" y="6563624"/>
                </a:cubicBezTo>
                <a:lnTo>
                  <a:pt x="11649321" y="6563624"/>
                </a:lnTo>
                <a:cubicBezTo>
                  <a:pt x="11645728" y="6559227"/>
                  <a:pt x="11645055" y="6554312"/>
                  <a:pt x="11644863" y="6549276"/>
                </a:cubicBezTo>
                <a:cubicBezTo>
                  <a:pt x="11644454" y="6538390"/>
                  <a:pt x="11648972" y="6532189"/>
                  <a:pt x="11659150" y="6529750"/>
                </a:cubicBezTo>
                <a:cubicBezTo>
                  <a:pt x="11660640" y="6529389"/>
                  <a:pt x="11662166" y="6529029"/>
                  <a:pt x="11663693" y="6528993"/>
                </a:cubicBezTo>
                <a:cubicBezTo>
                  <a:pt x="11673666" y="6528777"/>
                  <a:pt x="11683628" y="6528609"/>
                  <a:pt x="11693602" y="6528500"/>
                </a:cubicBezTo>
                <a:cubicBezTo>
                  <a:pt x="11696053" y="6528477"/>
                  <a:pt x="11698504" y="6528729"/>
                  <a:pt x="11701148" y="6528873"/>
                </a:cubicBezTo>
                <a:lnTo>
                  <a:pt x="11701148" y="6563637"/>
                </a:lnTo>
                <a:lnTo>
                  <a:pt x="11744864" y="6563637"/>
                </a:lnTo>
                <a:lnTo>
                  <a:pt x="11744864" y="6560007"/>
                </a:lnTo>
                <a:cubicBezTo>
                  <a:pt x="11744864" y="6534389"/>
                  <a:pt x="11744983" y="6508769"/>
                  <a:pt x="11744779" y="6483150"/>
                </a:cubicBezTo>
                <a:cubicBezTo>
                  <a:pt x="11744731" y="6476661"/>
                  <a:pt x="11744155" y="6470101"/>
                  <a:pt x="11743013" y="6463707"/>
                </a:cubicBezTo>
                <a:lnTo>
                  <a:pt x="11743025" y="6463720"/>
                </a:lnTo>
                <a:cubicBezTo>
                  <a:pt x="11740177" y="6447846"/>
                  <a:pt x="11731501" y="6436779"/>
                  <a:pt x="11715327" y="6432633"/>
                </a:cubicBezTo>
                <a:cubicBezTo>
                  <a:pt x="11711062" y="6431539"/>
                  <a:pt x="11706724" y="6430542"/>
                  <a:pt x="11702361" y="6430085"/>
                </a:cubicBezTo>
                <a:close/>
                <a:moveTo>
                  <a:pt x="11502107" y="6388965"/>
                </a:moveTo>
                <a:cubicBezTo>
                  <a:pt x="11501662" y="6403805"/>
                  <a:pt x="11501230" y="6418514"/>
                  <a:pt x="11500797" y="6433378"/>
                </a:cubicBezTo>
                <a:cubicBezTo>
                  <a:pt x="11491965" y="6434171"/>
                  <a:pt x="11483326" y="6434964"/>
                  <a:pt x="11474709" y="6435733"/>
                </a:cubicBezTo>
                <a:lnTo>
                  <a:pt x="11474709" y="6472828"/>
                </a:lnTo>
                <a:lnTo>
                  <a:pt x="11499884" y="6472828"/>
                </a:lnTo>
                <a:lnTo>
                  <a:pt x="11499884" y="6476325"/>
                </a:lnTo>
                <a:cubicBezTo>
                  <a:pt x="11499884" y="6496476"/>
                  <a:pt x="11499715" y="6516628"/>
                  <a:pt x="11499968" y="6536780"/>
                </a:cubicBezTo>
                <a:cubicBezTo>
                  <a:pt x="11500064" y="6544902"/>
                  <a:pt x="11500485" y="6553110"/>
                  <a:pt x="11501747" y="6561125"/>
                </a:cubicBezTo>
                <a:cubicBezTo>
                  <a:pt x="11504606" y="6579330"/>
                  <a:pt x="11514508" y="6591719"/>
                  <a:pt x="11532881" y="6596609"/>
                </a:cubicBezTo>
                <a:cubicBezTo>
                  <a:pt x="11544753" y="6599770"/>
                  <a:pt x="11556878" y="6600707"/>
                  <a:pt x="11569063" y="6601248"/>
                </a:cubicBezTo>
                <a:cubicBezTo>
                  <a:pt x="11574194" y="6601476"/>
                  <a:pt x="11579337" y="6601284"/>
                  <a:pt x="11584564" y="6601284"/>
                </a:cubicBezTo>
                <a:cubicBezTo>
                  <a:pt x="11585213" y="6590157"/>
                  <a:pt x="11585862" y="6579077"/>
                  <a:pt x="11586522" y="6567698"/>
                </a:cubicBezTo>
                <a:cubicBezTo>
                  <a:pt x="11584504" y="6567434"/>
                  <a:pt x="11582869" y="6567338"/>
                  <a:pt x="11581283" y="6567013"/>
                </a:cubicBezTo>
                <a:cubicBezTo>
                  <a:pt x="11573137" y="6565306"/>
                  <a:pt x="11564905" y="6563913"/>
                  <a:pt x="11556902" y="6561678"/>
                </a:cubicBezTo>
                <a:lnTo>
                  <a:pt x="11556914" y="6561678"/>
                </a:lnTo>
                <a:cubicBezTo>
                  <a:pt x="11551326" y="6560116"/>
                  <a:pt x="11547661" y="6555801"/>
                  <a:pt x="11546267" y="6550118"/>
                </a:cubicBezTo>
                <a:cubicBezTo>
                  <a:pt x="11545294" y="6546141"/>
                  <a:pt x="11544489" y="6542007"/>
                  <a:pt x="11544453" y="6537933"/>
                </a:cubicBezTo>
                <a:cubicBezTo>
                  <a:pt x="11544248" y="6516724"/>
                  <a:pt x="11544309" y="6495528"/>
                  <a:pt x="11544284" y="6474318"/>
                </a:cubicBezTo>
                <a:cubicBezTo>
                  <a:pt x="11544284" y="6473862"/>
                  <a:pt x="11544381" y="6473405"/>
                  <a:pt x="11544477" y="6472623"/>
                </a:cubicBezTo>
                <a:lnTo>
                  <a:pt x="11582689" y="6472623"/>
                </a:lnTo>
                <a:lnTo>
                  <a:pt x="11582689" y="6433366"/>
                </a:lnTo>
                <a:lnTo>
                  <a:pt x="11544212" y="6433366"/>
                </a:lnTo>
                <a:lnTo>
                  <a:pt x="11544212" y="6388965"/>
                </a:lnTo>
                <a:close/>
                <a:moveTo>
                  <a:pt x="11427713" y="6357614"/>
                </a:moveTo>
                <a:cubicBezTo>
                  <a:pt x="11415312" y="6357987"/>
                  <a:pt x="11408162" y="6364223"/>
                  <a:pt x="11406155" y="6376132"/>
                </a:cubicBezTo>
                <a:cubicBezTo>
                  <a:pt x="11405795" y="6378294"/>
                  <a:pt x="11405819" y="6380517"/>
                  <a:pt x="11405723" y="6382008"/>
                </a:cubicBezTo>
                <a:cubicBezTo>
                  <a:pt x="11405831" y="6384339"/>
                  <a:pt x="11405831" y="6385973"/>
                  <a:pt x="11405987" y="6387583"/>
                </a:cubicBezTo>
                <a:cubicBezTo>
                  <a:pt x="11406925" y="6397857"/>
                  <a:pt x="11412452" y="6404695"/>
                  <a:pt x="11422149" y="6406065"/>
                </a:cubicBezTo>
                <a:cubicBezTo>
                  <a:pt x="11427544" y="6406834"/>
                  <a:pt x="11433265" y="6406557"/>
                  <a:pt x="11438672" y="6405704"/>
                </a:cubicBezTo>
                <a:cubicBezTo>
                  <a:pt x="11446147" y="6404526"/>
                  <a:pt x="11450881" y="6399636"/>
                  <a:pt x="11452791" y="6392282"/>
                </a:cubicBezTo>
                <a:cubicBezTo>
                  <a:pt x="11454582" y="6385384"/>
                  <a:pt x="11454582" y="6378463"/>
                  <a:pt x="11452719" y="6371565"/>
                </a:cubicBezTo>
                <a:cubicBezTo>
                  <a:pt x="11450809" y="6364512"/>
                  <a:pt x="11446170" y="6360150"/>
                  <a:pt x="11439128" y="6358660"/>
                </a:cubicBezTo>
                <a:lnTo>
                  <a:pt x="11439117" y="6358660"/>
                </a:lnTo>
                <a:cubicBezTo>
                  <a:pt x="11435403" y="6357878"/>
                  <a:pt x="11431510" y="6357494"/>
                  <a:pt x="11427713" y="6357614"/>
                </a:cubicBezTo>
                <a:close/>
                <a:moveTo>
                  <a:pt x="11166715" y="6357614"/>
                </a:moveTo>
                <a:cubicBezTo>
                  <a:pt x="11155156" y="6357963"/>
                  <a:pt x="11148077" y="6363562"/>
                  <a:pt x="11145687" y="6373969"/>
                </a:cubicBezTo>
                <a:cubicBezTo>
                  <a:pt x="11145074" y="6376660"/>
                  <a:pt x="11144942" y="6379448"/>
                  <a:pt x="11144617" y="6382032"/>
                </a:cubicBezTo>
                <a:cubicBezTo>
                  <a:pt x="11144906" y="6384819"/>
                  <a:pt x="11145050" y="6387415"/>
                  <a:pt x="11145458" y="6389950"/>
                </a:cubicBezTo>
                <a:cubicBezTo>
                  <a:pt x="11146948" y="6398987"/>
                  <a:pt x="11152332" y="6404923"/>
                  <a:pt x="11161344" y="6406101"/>
                </a:cubicBezTo>
                <a:cubicBezTo>
                  <a:pt x="11166655" y="6406797"/>
                  <a:pt x="11172267" y="6406581"/>
                  <a:pt x="11177578" y="6405752"/>
                </a:cubicBezTo>
                <a:cubicBezTo>
                  <a:pt x="11185437" y="6404514"/>
                  <a:pt x="11190220" y="6399371"/>
                  <a:pt x="11192082" y="6391645"/>
                </a:cubicBezTo>
                <a:cubicBezTo>
                  <a:pt x="11193644" y="6385204"/>
                  <a:pt x="11193620" y="6378727"/>
                  <a:pt x="11192046" y="6372298"/>
                </a:cubicBezTo>
                <a:cubicBezTo>
                  <a:pt x="11190232" y="6364920"/>
                  <a:pt x="11185581" y="6360174"/>
                  <a:pt x="11178119" y="6358648"/>
                </a:cubicBezTo>
                <a:cubicBezTo>
                  <a:pt x="11174394" y="6357890"/>
                  <a:pt x="11170513" y="6357506"/>
                  <a:pt x="11166715" y="6357614"/>
                </a:cubicBezTo>
                <a:close/>
                <a:moveTo>
                  <a:pt x="11779459" y="6352483"/>
                </a:moveTo>
                <a:lnTo>
                  <a:pt x="11779459" y="6354718"/>
                </a:lnTo>
                <a:cubicBezTo>
                  <a:pt x="11779459" y="6417853"/>
                  <a:pt x="11779411" y="6480975"/>
                  <a:pt x="11779531" y="6544110"/>
                </a:cubicBezTo>
                <a:cubicBezTo>
                  <a:pt x="11779543" y="6550887"/>
                  <a:pt x="11780312" y="6557700"/>
                  <a:pt x="11781298" y="6564417"/>
                </a:cubicBezTo>
                <a:cubicBezTo>
                  <a:pt x="11783377" y="6578392"/>
                  <a:pt x="11790418" y="6588919"/>
                  <a:pt x="11803900" y="6594314"/>
                </a:cubicBezTo>
                <a:cubicBezTo>
                  <a:pt x="11818813" y="6600275"/>
                  <a:pt x="11834567" y="6600576"/>
                  <a:pt x="11850320" y="6601068"/>
                </a:cubicBezTo>
                <a:cubicBezTo>
                  <a:pt x="11850536" y="6600347"/>
                  <a:pt x="11850741" y="6599902"/>
                  <a:pt x="11850788" y="6599445"/>
                </a:cubicBezTo>
                <a:cubicBezTo>
                  <a:pt x="11851426" y="6593726"/>
                  <a:pt x="11851991" y="6588006"/>
                  <a:pt x="11852663" y="6582298"/>
                </a:cubicBezTo>
                <a:cubicBezTo>
                  <a:pt x="11853156" y="6578152"/>
                  <a:pt x="11853793" y="6574031"/>
                  <a:pt x="11854369" y="6569897"/>
                </a:cubicBezTo>
                <a:lnTo>
                  <a:pt x="11854369" y="6568167"/>
                </a:lnTo>
                <a:cubicBezTo>
                  <a:pt x="11849034" y="6567013"/>
                  <a:pt x="11843651" y="6566052"/>
                  <a:pt x="11838388" y="6564682"/>
                </a:cubicBezTo>
                <a:lnTo>
                  <a:pt x="11838400" y="6564682"/>
                </a:lnTo>
                <a:cubicBezTo>
                  <a:pt x="11829868" y="6562459"/>
                  <a:pt x="11825434" y="6556558"/>
                  <a:pt x="11824472" y="6547991"/>
                </a:cubicBezTo>
                <a:cubicBezTo>
                  <a:pt x="11824076" y="6544470"/>
                  <a:pt x="11823872" y="6540914"/>
                  <a:pt x="11823872" y="6537380"/>
                </a:cubicBezTo>
                <a:cubicBezTo>
                  <a:pt x="11823836" y="6476938"/>
                  <a:pt x="11823848" y="6416495"/>
                  <a:pt x="11823848" y="6356052"/>
                </a:cubicBezTo>
                <a:lnTo>
                  <a:pt x="11823848" y="6352483"/>
                </a:lnTo>
                <a:close/>
                <a:moveTo>
                  <a:pt x="11067447" y="6352423"/>
                </a:moveTo>
                <a:lnTo>
                  <a:pt x="11067447" y="6431984"/>
                </a:lnTo>
                <a:cubicBezTo>
                  <a:pt x="11053063" y="6429376"/>
                  <a:pt x="11038920" y="6427862"/>
                  <a:pt x="11024609" y="6429364"/>
                </a:cubicBezTo>
                <a:lnTo>
                  <a:pt x="11024609" y="6467192"/>
                </a:lnTo>
                <a:cubicBezTo>
                  <a:pt x="11024969" y="6467252"/>
                  <a:pt x="11025173" y="6467349"/>
                  <a:pt x="11025342" y="6467301"/>
                </a:cubicBezTo>
                <a:cubicBezTo>
                  <a:pt x="11038632" y="6464380"/>
                  <a:pt x="11051850" y="6465318"/>
                  <a:pt x="11065044" y="6467937"/>
                </a:cubicBezTo>
                <a:cubicBezTo>
                  <a:pt x="11066642" y="6468249"/>
                  <a:pt x="11067519" y="6468682"/>
                  <a:pt x="11067519" y="6470641"/>
                </a:cubicBezTo>
                <a:cubicBezTo>
                  <a:pt x="11067447" y="6501151"/>
                  <a:pt x="11067459" y="6531661"/>
                  <a:pt x="11067508" y="6562171"/>
                </a:cubicBezTo>
                <a:cubicBezTo>
                  <a:pt x="11067508" y="6563865"/>
                  <a:pt x="11066906" y="6564466"/>
                  <a:pt x="11065285" y="6564790"/>
                </a:cubicBezTo>
                <a:cubicBezTo>
                  <a:pt x="11054121" y="6567001"/>
                  <a:pt x="11042850" y="6568034"/>
                  <a:pt x="11031494" y="6567457"/>
                </a:cubicBezTo>
                <a:cubicBezTo>
                  <a:pt x="11016522" y="6566700"/>
                  <a:pt x="11008038" y="6559803"/>
                  <a:pt x="11004733" y="6545216"/>
                </a:cubicBezTo>
                <a:cubicBezTo>
                  <a:pt x="11003243" y="6538630"/>
                  <a:pt x="11002450" y="6531769"/>
                  <a:pt x="11002342" y="6525015"/>
                </a:cubicBezTo>
                <a:cubicBezTo>
                  <a:pt x="11002078" y="6509058"/>
                  <a:pt x="11001441" y="6492944"/>
                  <a:pt x="11009348" y="6477767"/>
                </a:cubicBezTo>
                <a:cubicBezTo>
                  <a:pt x="10993714" y="6477767"/>
                  <a:pt x="10978441" y="6477791"/>
                  <a:pt x="10963180" y="6477731"/>
                </a:cubicBezTo>
                <a:cubicBezTo>
                  <a:pt x="10961462" y="6477731"/>
                  <a:pt x="10961174" y="6478584"/>
                  <a:pt x="10960873" y="6479941"/>
                </a:cubicBezTo>
                <a:cubicBezTo>
                  <a:pt x="10957328" y="6495888"/>
                  <a:pt x="10956451" y="6512061"/>
                  <a:pt x="10957400" y="6528272"/>
                </a:cubicBezTo>
                <a:cubicBezTo>
                  <a:pt x="10957977" y="6538186"/>
                  <a:pt x="10959035" y="6548183"/>
                  <a:pt x="10961162" y="6557856"/>
                </a:cubicBezTo>
                <a:cubicBezTo>
                  <a:pt x="10965379" y="6577023"/>
                  <a:pt x="10975894" y="6591611"/>
                  <a:pt x="10995312" y="6597823"/>
                </a:cubicBezTo>
                <a:cubicBezTo>
                  <a:pt x="11003099" y="6600311"/>
                  <a:pt x="11011354" y="6601705"/>
                  <a:pt x="11019502" y="6602606"/>
                </a:cubicBezTo>
                <a:cubicBezTo>
                  <a:pt x="11033945" y="6604204"/>
                  <a:pt x="11048461" y="6603495"/>
                  <a:pt x="11062893" y="6602041"/>
                </a:cubicBezTo>
                <a:cubicBezTo>
                  <a:pt x="11078394" y="6600479"/>
                  <a:pt x="11093644" y="6597703"/>
                  <a:pt x="11108448" y="6592656"/>
                </a:cubicBezTo>
                <a:cubicBezTo>
                  <a:pt x="11110743" y="6591875"/>
                  <a:pt x="11111439" y="6590854"/>
                  <a:pt x="11111439" y="6588451"/>
                </a:cubicBezTo>
                <a:cubicBezTo>
                  <a:pt x="11111367" y="6510837"/>
                  <a:pt x="11111380" y="6433222"/>
                  <a:pt x="11111380" y="6355595"/>
                </a:cubicBezTo>
                <a:lnTo>
                  <a:pt x="11111380" y="6352423"/>
                </a:lnTo>
                <a:close/>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1">
              <a:lumMod val="95000"/>
            </a:schemeClr>
          </a:solidFill>
        </p:spPr>
        <p:txBody>
          <a:bodyPr wrap="square">
            <a:noAutofit/>
          </a:bodyPr>
          <a:lstStyle>
            <a:lvl1pPr rtl="0">
              <a:defRPr>
                <a:solidFill>
                  <a:schemeClr val="tx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5472112" cy="2605087"/>
          </a:xfrm>
          <a:solidFill>
            <a:schemeClr val="bg1"/>
          </a:solidFill>
        </p:spPr>
        <p:txBody>
          <a:bodyPr vert="horz" lIns="252000" tIns="828000" rIns="252000" bIns="144000"/>
          <a:lstStyle>
            <a:lvl1pPr rtl="0">
              <a:defRPr sz="24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1171574" y="6443762"/>
            <a:ext cx="4924425" cy="153888"/>
          </a:xfrm>
        </p:spPr>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75888" y="872713"/>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grpSp>
        <p:nvGrpSpPr>
          <p:cNvPr id="40" name="Gruppieren 39">
            <a:extLst>
              <a:ext uri="{FF2B5EF4-FFF2-40B4-BE49-F238E27FC236}">
                <a16:creationId xmlns:a16="http://schemas.microsoft.com/office/drawing/2014/main" id="{972EC8B1-6F15-51F0-E428-6FA5E2620AD0}"/>
              </a:ext>
            </a:extLst>
          </p:cNvPr>
          <p:cNvGrpSpPr>
            <a:grpSpLocks/>
          </p:cNvGrpSpPr>
          <p:nvPr userDrawn="1"/>
        </p:nvGrpSpPr>
        <p:grpSpPr>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3" name="Gruppieren 42">
            <a:extLst>
              <a:ext uri="{FF2B5EF4-FFF2-40B4-BE49-F238E27FC236}">
                <a16:creationId xmlns:a16="http://schemas.microsoft.com/office/drawing/2014/main" id="{401C11BA-BF11-578F-7BBA-5CAFC6C90EA4}"/>
              </a:ext>
            </a:extLst>
          </p:cNvPr>
          <p:cNvGrpSpPr/>
          <p:nvPr userDrawn="1"/>
        </p:nvGrpSpPr>
        <p:grpSpPr>
          <a:xfrm>
            <a:off x="-254000" y="296863"/>
            <a:ext cx="144000" cy="6300787"/>
            <a:chOff x="0" y="296863"/>
            <a:chExt cx="12192000" cy="6300787"/>
          </a:xfrm>
        </p:grpSpPr>
        <p:cxnSp>
          <p:nvCxnSpPr>
            <p:cNvPr id="44" name="Gerader Verbinder 43">
              <a:extLst>
                <a:ext uri="{FF2B5EF4-FFF2-40B4-BE49-F238E27FC236}">
                  <a16:creationId xmlns:a16="http://schemas.microsoft.com/office/drawing/2014/main" id="{2C198C45-F28C-414B-DBCF-6EA5D6BCECA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E7475E3-68A3-E931-7399-DD68843B38C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45621E41-4719-2EF4-4E7D-B1D542B7BF4F}"/>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1AF99A63-4A4F-47EA-B103-CF83C82A5B78}"/>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D5EF0FB5-9F30-1B0A-87C5-4DEAF0E88E7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D7DFF7C1-B492-3C8F-BF1C-F2E2057900F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22861106-7218-BF30-D053-F9ECE86D44FE}"/>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Lst>
          </p:cNvPr>
          <p:cNvGrpSpPr>
            <a:grpSpLocks/>
          </p:cNvGrpSpPr>
          <p:nvPr userDrawn="1"/>
        </p:nvGrpSpPr>
        <p:grpSpPr>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AD3D102E-3CC2-01C9-6B11-ED87D58407F6}"/>
              </a:ext>
            </a:extLst>
          </p:cNvPr>
          <p:cNvGrpSpPr/>
          <p:nvPr userDrawn="1"/>
        </p:nvGrpSpPr>
        <p:grpSpPr>
          <a:xfrm>
            <a:off x="12301940" y="296863"/>
            <a:ext cx="144000" cy="6300787"/>
            <a:chOff x="0" y="296863"/>
            <a:chExt cx="12192000" cy="6300787"/>
          </a:xfrm>
        </p:grpSpPr>
        <p:cxnSp>
          <p:nvCxnSpPr>
            <p:cNvPr id="55" name="Gerader Verbinder 54">
              <a:extLst>
                <a:ext uri="{FF2B5EF4-FFF2-40B4-BE49-F238E27FC236}">
                  <a16:creationId xmlns:a16="http://schemas.microsoft.com/office/drawing/2014/main" id="{AB0C4BC5-3D26-0936-4F42-030AEB58806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C92B67A7-05D4-1459-3814-62607C9C5F5E}"/>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14764811-14B7-99D6-108A-9618AA2695FC}"/>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0240F883-C8CE-B007-8EAE-E859BD98412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DC31BF7-E319-1864-EB92-969C885DE4E6}"/>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F5FAC5E8-813A-4199-D4E9-C5BA1897C930}"/>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9B6A17B1-E38D-08E0-140A-14F3253CDB9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30671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523775" y="2756807"/>
            <a:ext cx="8360454" cy="1661993"/>
          </a:xfrm>
        </p:spPr>
        <p:txBody>
          <a:bodyPr vert="horz"/>
          <a:lstStyle>
            <a:lvl1pPr rtl="0">
              <a:defRPr sz="3600"/>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523774"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2790657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42039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a:xfrm>
            <a:off x="4847547" y="2756807"/>
            <a:ext cx="6531653" cy="1292662"/>
          </a:xfrm>
        </p:spPr>
        <p:txBody>
          <a:bodyPr vert="horz"/>
          <a:lstStyle>
            <a:lvl1pPr rtl="0">
              <a:defRPr sz="2800">
                <a:solidFill>
                  <a:schemeClr val="bg1"/>
                </a:solidFill>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847547" y="2244271"/>
            <a:ext cx="1600035" cy="318924"/>
          </a:xfrm>
          <a:solidFill>
            <a:schemeClr val="bg2"/>
          </a:solidFill>
        </p:spPr>
        <p:txBody>
          <a:bodyPr wrap="none" lIns="72000" tIns="36000" rIns="72000" bIns="36000" anchor="ctr">
            <a:spAutoFit/>
          </a:bodyPr>
          <a:lstStyle>
            <a:lvl1pPr rtl="0">
              <a:defRPr sz="1600" b="1">
                <a:solidFill>
                  <a:schemeClr val="bg1"/>
                </a:solidFill>
              </a:defRPr>
            </a:lvl1pPr>
          </a:lstStyle>
          <a:p>
            <a:pPr lvl="0"/>
            <a:r>
              <a:rPr lang="de-DE" dirty="0" err="1"/>
              <a:t>Subtitle</a:t>
            </a:r>
            <a:r>
              <a:rPr lang="de-DE" dirty="0"/>
              <a:t> einfügen</a:t>
            </a:r>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18" name="Gruppieren 17">
            <a:extLst>
              <a:ext uri="{FF2B5EF4-FFF2-40B4-BE49-F238E27FC236}">
                <a16:creationId xmlns:a16="http://schemas.microsoft.com/office/drawing/2014/main" id="{0F611103-5DF8-7D3D-92B3-B2DC06723B02}"/>
              </a:ext>
            </a:extLst>
          </p:cNvPr>
          <p:cNvGrpSpPr>
            <a:grpSpLocks/>
          </p:cNvGrpSpPr>
          <p:nvPr userDrawn="1"/>
        </p:nvGrpSpPr>
        <p:grpSpPr>
          <a:xfrm>
            <a:off x="623888" y="-254000"/>
            <a:ext cx="11233150" cy="144000"/>
            <a:chOff x="623888" y="0"/>
            <a:chExt cx="11233150" cy="6858000"/>
          </a:xfrm>
        </p:grpSpPr>
        <p:cxnSp>
          <p:nvCxnSpPr>
            <p:cNvPr id="19" name="Gerader Verbinder 18">
              <a:extLst>
                <a:ext uri="{FF2B5EF4-FFF2-40B4-BE49-F238E27FC236}">
                  <a16:creationId xmlns:a16="http://schemas.microsoft.com/office/drawing/2014/main" id="{241466C7-45E4-7016-3E52-7DCEC90FAEE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2347EB01-054A-E449-5A8E-A7D0A4556E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 name="Gruppieren 20">
            <a:extLst>
              <a:ext uri="{FF2B5EF4-FFF2-40B4-BE49-F238E27FC236}">
                <a16:creationId xmlns:a16="http://schemas.microsoft.com/office/drawing/2014/main" id="{42389F98-980A-7B95-366B-73E8C44BBF17}"/>
              </a:ext>
            </a:extLst>
          </p:cNvPr>
          <p:cNvGrpSpPr/>
          <p:nvPr userDrawn="1"/>
        </p:nvGrpSpPr>
        <p:grpSpPr>
          <a:xfrm>
            <a:off x="-254000" y="296863"/>
            <a:ext cx="144000" cy="6300787"/>
            <a:chOff x="0" y="296863"/>
            <a:chExt cx="12192000" cy="6300787"/>
          </a:xfrm>
        </p:grpSpPr>
        <p:cxnSp>
          <p:nvCxnSpPr>
            <p:cNvPr id="22" name="Gerader Verbinder 21">
              <a:extLst>
                <a:ext uri="{FF2B5EF4-FFF2-40B4-BE49-F238E27FC236}">
                  <a16:creationId xmlns:a16="http://schemas.microsoft.com/office/drawing/2014/main" id="{F97C9019-2274-EF18-040A-4124F04A0C8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AA2F55F-0637-CDAE-868D-EEFC95CC2DA1}"/>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E9DC483-1A5B-8C88-D7E4-519AAFF8435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B327F32C-3B9D-7400-BF5D-E1B6F9B8C4D7}"/>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25B48F3-3E49-F88F-D02C-0EFD2B317E3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1DD3380-8E24-B4A2-95B5-465C98E45CA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B168EC89-3047-55A5-39A8-CF4769354FA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 name="Gruppieren 28">
            <a:extLst>
              <a:ext uri="{FF2B5EF4-FFF2-40B4-BE49-F238E27FC236}">
                <a16:creationId xmlns:a16="http://schemas.microsoft.com/office/drawing/2014/main" id="{F299A652-9F88-C7BA-F661-671283763020}"/>
              </a:ext>
            </a:extLst>
          </p:cNvPr>
          <p:cNvGrpSpPr>
            <a:grpSpLocks/>
          </p:cNvGrpSpPr>
          <p:nvPr userDrawn="1"/>
        </p:nvGrpSpPr>
        <p:grpSpPr>
          <a:xfrm>
            <a:off x="623888" y="6972300"/>
            <a:ext cx="11233150" cy="144000"/>
            <a:chOff x="623888" y="0"/>
            <a:chExt cx="11233150" cy="6858000"/>
          </a:xfrm>
        </p:grpSpPr>
        <p:cxnSp>
          <p:nvCxnSpPr>
            <p:cNvPr id="30" name="Gerader Verbinder 29">
              <a:extLst>
                <a:ext uri="{FF2B5EF4-FFF2-40B4-BE49-F238E27FC236}">
                  <a16:creationId xmlns:a16="http://schemas.microsoft.com/office/drawing/2014/main" id="{2E8D6FAF-F3C3-6B1F-E9BD-F6E49FD71FCB}"/>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762986E-7736-B5E0-C818-713F041AEE8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3F88E7E6-E336-F539-D0AE-7445E2BC5B55}"/>
              </a:ext>
            </a:extLst>
          </p:cNvPr>
          <p:cNvGrpSpPr/>
          <p:nvPr userDrawn="1"/>
        </p:nvGrpSpPr>
        <p:grpSpPr>
          <a:xfrm>
            <a:off x="12301940" y="296863"/>
            <a:ext cx="144000" cy="6300787"/>
            <a:chOff x="0" y="296863"/>
            <a:chExt cx="12192000" cy="6300787"/>
          </a:xfrm>
        </p:grpSpPr>
        <p:cxnSp>
          <p:nvCxnSpPr>
            <p:cNvPr id="33" name="Gerader Verbinder 32">
              <a:extLst>
                <a:ext uri="{FF2B5EF4-FFF2-40B4-BE49-F238E27FC236}">
                  <a16:creationId xmlns:a16="http://schemas.microsoft.com/office/drawing/2014/main" id="{D69C8688-0FED-7D51-4F06-35AC7D9F90B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D332D22-F7F8-2ED1-5849-21CE8D83EC6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A10AF8D-080E-DB4B-DC26-23A495D5561D}"/>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2397021-B0B6-32CF-5065-C94FCCF2C90F}"/>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BB39153-0599-7FF3-E91F-6DB155654A3E}"/>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A8A34CF2-E6BC-D62C-3C6C-C3C0C59F9DD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B1DDDC0-6A74-0DB0-631F-A0E7B4B56373}"/>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787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8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2933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5" name="Gruppieren 4">
            <a:extLst>
              <a:ext uri="{FF2B5EF4-FFF2-40B4-BE49-F238E27FC236}">
                <a16:creationId xmlns:a16="http://schemas.microsoft.com/office/drawing/2014/main" id="{A2F79FE3-8ED9-BCC2-4764-73EF12FC2448}"/>
              </a:ext>
            </a:extLst>
          </p:cNvPr>
          <p:cNvGrpSpPr/>
          <p:nvPr userDrawn="1"/>
        </p:nvGrpSpPr>
        <p:grpSpPr bwMode="invGray">
          <a:xfrm>
            <a:off x="4847545" y="483279"/>
            <a:ext cx="4546959" cy="182762"/>
            <a:chOff x="4847545" y="6129338"/>
            <a:chExt cx="4546959" cy="182762"/>
          </a:xfrm>
        </p:grpSpPr>
        <p:sp>
          <p:nvSpPr>
            <p:cNvPr id="6" name="Textfeld 5">
              <a:extLst>
                <a:ext uri="{FF2B5EF4-FFF2-40B4-BE49-F238E27FC236}">
                  <a16:creationId xmlns:a16="http://schemas.microsoft.com/office/drawing/2014/main" id="{65DE9F5B-8513-3F1C-3761-AB49B107193B}"/>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7" name="Grafik 6">
              <a:extLst>
                <a:ext uri="{FF2B5EF4-FFF2-40B4-BE49-F238E27FC236}">
                  <a16:creationId xmlns:a16="http://schemas.microsoft.com/office/drawing/2014/main" id="{0D31CBAC-D49B-6E91-5C7E-9F68D40E6137}"/>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11" name="Grafik 10">
              <a:extLst>
                <a:ext uri="{FF2B5EF4-FFF2-40B4-BE49-F238E27FC236}">
                  <a16:creationId xmlns:a16="http://schemas.microsoft.com/office/drawing/2014/main" id="{4999700E-48F5-B44C-3ED3-BD3C23454EC4}"/>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553111"/>
            <a:ext cx="677108" cy="677108"/>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4847546"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0" name="Bildplatzhalter 19">
            <a:extLst>
              <a:ext uri="{FF2B5EF4-FFF2-40B4-BE49-F238E27FC236}">
                <a16:creationId xmlns:a16="http://schemas.microsoft.com/office/drawing/2014/main" id="{41E7DC1D-D4D8-70D3-57D0-038CEA0BFD1E}"/>
              </a:ext>
            </a:extLst>
          </p:cNvPr>
          <p:cNvSpPr>
            <a:spLocks noGrp="1"/>
          </p:cNvSpPr>
          <p:nvPr>
            <p:ph type="pic" sz="quarter" idx="14" hasCustomPrompt="1"/>
          </p:nvPr>
        </p:nvSpPr>
        <p:spPr bwMode="invGray">
          <a:xfrm>
            <a:off x="4847547"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2" name="Bildplatzhalter 21">
            <a:extLst>
              <a:ext uri="{FF2B5EF4-FFF2-40B4-BE49-F238E27FC236}">
                <a16:creationId xmlns:a16="http://schemas.microsoft.com/office/drawing/2014/main" id="{C37E5E02-DA17-49AB-C218-66F45292B9EE}"/>
              </a:ext>
            </a:extLst>
          </p:cNvPr>
          <p:cNvSpPr>
            <a:spLocks noGrp="1"/>
          </p:cNvSpPr>
          <p:nvPr>
            <p:ph type="pic" sz="quarter" idx="15" hasCustomPrompt="1"/>
          </p:nvPr>
        </p:nvSpPr>
        <p:spPr bwMode="invGray">
          <a:xfrm>
            <a:off x="4847546"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4" name="Bildplatzhalter 23">
            <a:extLst>
              <a:ext uri="{FF2B5EF4-FFF2-40B4-BE49-F238E27FC236}">
                <a16:creationId xmlns:a16="http://schemas.microsoft.com/office/drawing/2014/main" id="{85424A3E-3384-D84B-08BC-CD36882B0B85}"/>
              </a:ext>
            </a:extLst>
          </p:cNvPr>
          <p:cNvSpPr>
            <a:spLocks noGrp="1"/>
          </p:cNvSpPr>
          <p:nvPr>
            <p:ph type="pic" sz="quarter" idx="16" hasCustomPrompt="1"/>
          </p:nvPr>
        </p:nvSpPr>
        <p:spPr bwMode="invGray">
          <a:xfrm>
            <a:off x="8573705" y="2553111"/>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6" name="Bildplatzhalter 25">
            <a:extLst>
              <a:ext uri="{FF2B5EF4-FFF2-40B4-BE49-F238E27FC236}">
                <a16:creationId xmlns:a16="http://schemas.microsoft.com/office/drawing/2014/main" id="{B694C1FC-EE32-3B77-9E33-C4ED7A2D6593}"/>
              </a:ext>
            </a:extLst>
          </p:cNvPr>
          <p:cNvSpPr>
            <a:spLocks noGrp="1"/>
          </p:cNvSpPr>
          <p:nvPr>
            <p:ph type="pic" sz="quarter" idx="17" hasCustomPrompt="1"/>
          </p:nvPr>
        </p:nvSpPr>
        <p:spPr bwMode="invGray">
          <a:xfrm>
            <a:off x="8573704" y="3519484"/>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28" name="Bildplatzhalter 27">
            <a:extLst>
              <a:ext uri="{FF2B5EF4-FFF2-40B4-BE49-F238E27FC236}">
                <a16:creationId xmlns:a16="http://schemas.microsoft.com/office/drawing/2014/main" id="{E4C3A348-4B8D-20F5-F1D5-D1C99235C7B5}"/>
              </a:ext>
            </a:extLst>
          </p:cNvPr>
          <p:cNvSpPr>
            <a:spLocks noGrp="1"/>
          </p:cNvSpPr>
          <p:nvPr>
            <p:ph type="pic" sz="quarter" idx="18" hasCustomPrompt="1"/>
          </p:nvPr>
        </p:nvSpPr>
        <p:spPr bwMode="invGray">
          <a:xfrm>
            <a:off x="8573705" y="4485857"/>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30" name="Bildplatzhalter 29">
            <a:extLst>
              <a:ext uri="{FF2B5EF4-FFF2-40B4-BE49-F238E27FC236}">
                <a16:creationId xmlns:a16="http://schemas.microsoft.com/office/drawing/2014/main" id="{6025AF6B-626B-4CA2-042A-DA2046F619FD}"/>
              </a:ext>
            </a:extLst>
          </p:cNvPr>
          <p:cNvSpPr>
            <a:spLocks noGrp="1"/>
          </p:cNvSpPr>
          <p:nvPr>
            <p:ph type="pic" sz="quarter" idx="19" hasCustomPrompt="1"/>
          </p:nvPr>
        </p:nvSpPr>
        <p:spPr bwMode="invGray">
          <a:xfrm>
            <a:off x="8573704" y="5452230"/>
            <a:ext cx="677108" cy="677108"/>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688216"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688216"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688216"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688216"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9414374" y="2553111"/>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9414374" y="3519484"/>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9414374" y="4485857"/>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54" name="Textplatzhalter 53">
            <a:extLst>
              <a:ext uri="{FF2B5EF4-FFF2-40B4-BE49-F238E27FC236}">
                <a16:creationId xmlns:a16="http://schemas.microsoft.com/office/drawing/2014/main" id="{341F0D25-3E25-0B0C-6298-66A649CC88F9}"/>
              </a:ext>
            </a:extLst>
          </p:cNvPr>
          <p:cNvSpPr>
            <a:spLocks noGrp="1"/>
          </p:cNvSpPr>
          <p:nvPr>
            <p:ph type="body" sz="quarter" idx="27"/>
          </p:nvPr>
        </p:nvSpPr>
        <p:spPr bwMode="invGray">
          <a:xfrm>
            <a:off x="9414374" y="5452230"/>
            <a:ext cx="2442664" cy="677108"/>
          </a:xfrm>
        </p:spPr>
        <p:txBody>
          <a:bodyPr anchor="ctr">
            <a:noAutofit/>
          </a:bodyPr>
          <a:lstStyle>
            <a:lvl1pPr marL="0" indent="0" rtl="0">
              <a:spcAft>
                <a:spcPts val="0"/>
              </a:spcAft>
              <a:buFont typeface="Arial" panose="020B0604020202020204" pitchFamily="34" charset="0"/>
              <a:buNone/>
              <a:defRPr sz="1100" b="1">
                <a:solidFill>
                  <a:schemeClr val="bg1"/>
                </a:solidFill>
              </a:defRPr>
            </a:lvl1pPr>
            <a:lvl2pPr marL="0" indent="0" rtl="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57" name="Gruppieren 56">
            <a:extLst>
              <a:ext uri="{FF2B5EF4-FFF2-40B4-BE49-F238E27FC236}">
                <a16:creationId xmlns:a16="http://schemas.microsoft.com/office/drawing/2014/main" id="{13ED8E3C-0E50-16E3-C002-BE85A65CE5D3}"/>
              </a:ext>
            </a:extLst>
          </p:cNvPr>
          <p:cNvGrpSpPr>
            <a:grpSpLocks/>
          </p:cNvGrpSpPr>
          <p:nvPr userDrawn="1"/>
        </p:nvGrpSpPr>
        <p:grpSpPr>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B9446656-E9DE-A257-DEA7-7FD8B0B787C2}"/>
              </a:ext>
            </a:extLst>
          </p:cNvPr>
          <p:cNvGrpSpPr/>
          <p:nvPr userDrawn="1"/>
        </p:nvGrpSpPr>
        <p:grpSpPr>
          <a:xfrm>
            <a:off x="-254000" y="296863"/>
            <a:ext cx="144000" cy="6300787"/>
            <a:chOff x="0" y="296863"/>
            <a:chExt cx="12192000" cy="6300787"/>
          </a:xfrm>
        </p:grpSpPr>
        <p:cxnSp>
          <p:nvCxnSpPr>
            <p:cNvPr id="61" name="Gerader Verbinder 60">
              <a:extLst>
                <a:ext uri="{FF2B5EF4-FFF2-40B4-BE49-F238E27FC236}">
                  <a16:creationId xmlns:a16="http://schemas.microsoft.com/office/drawing/2014/main" id="{1D200809-A4C1-2A94-95FC-AE32D6783419}"/>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375850E-8F39-3704-3212-C817A900DAD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CB264BB-0EFA-2F54-F04F-DFD32B4D20F2}"/>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80C15B3-4193-70E5-55CC-B1E5B87CCC52}"/>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C6DBA989-0BF0-EFBE-8858-68E791055B9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8F5DA32D-9AAE-6E80-D64F-C7B2F56E9B23}"/>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64553701-EB9E-665E-1430-899FCD53F66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8" name="Gruppieren 67">
            <a:extLst>
              <a:ext uri="{FF2B5EF4-FFF2-40B4-BE49-F238E27FC236}">
                <a16:creationId xmlns:a16="http://schemas.microsoft.com/office/drawing/2014/main" id="{0D39DC80-40B4-A897-FB43-D17636078471}"/>
              </a:ext>
            </a:extLst>
          </p:cNvPr>
          <p:cNvGrpSpPr>
            <a:grpSpLocks/>
          </p:cNvGrpSpPr>
          <p:nvPr userDrawn="1"/>
        </p:nvGrpSpPr>
        <p:grpSpPr>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1" name="Gruppieren 70">
            <a:extLst>
              <a:ext uri="{FF2B5EF4-FFF2-40B4-BE49-F238E27FC236}">
                <a16:creationId xmlns:a16="http://schemas.microsoft.com/office/drawing/2014/main" id="{B08810A0-B7FB-66BA-8D2A-CF666F2BE682}"/>
              </a:ext>
            </a:extLst>
          </p:cNvPr>
          <p:cNvGrpSpPr/>
          <p:nvPr userDrawn="1"/>
        </p:nvGrpSpPr>
        <p:grpSpPr>
          <a:xfrm>
            <a:off x="12301940" y="296863"/>
            <a:ext cx="144000" cy="6300787"/>
            <a:chOff x="0" y="296863"/>
            <a:chExt cx="12192000" cy="6300787"/>
          </a:xfrm>
        </p:grpSpPr>
        <p:cxnSp>
          <p:nvCxnSpPr>
            <p:cNvPr id="72" name="Gerader Verbinder 71">
              <a:extLst>
                <a:ext uri="{FF2B5EF4-FFF2-40B4-BE49-F238E27FC236}">
                  <a16:creationId xmlns:a16="http://schemas.microsoft.com/office/drawing/2014/main" id="{7CDFE304-C8F5-EC90-DCB6-ADCB881DAA3E}"/>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525106A-5687-A54A-B47A-BB692F76E78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878FAC23-B749-4B60-84DE-412E8CF19F2A}"/>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63D9F879-FF20-F5AA-CC11-77D8CB535DAE}"/>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7C5B3C6E-2F6E-5CBC-C63B-C9C81727879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B4C8506-105F-11DD-E662-28382FC04ADB}"/>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85BB255-F875-B9E8-C776-E3A73F2BABA7}"/>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Kontakte">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281803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pic>
        <p:nvPicPr>
          <p:cNvPr id="13" name="Grafik 12">
            <a:extLst>
              <a:ext uri="{FF2B5EF4-FFF2-40B4-BE49-F238E27FC236}">
                <a16:creationId xmlns:a16="http://schemas.microsoft.com/office/drawing/2014/main" id="{05D4C722-2827-5BF6-3D87-08603A0D7322}"/>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invGray">
          <a:xfrm>
            <a:off x="4847546" y="1291773"/>
            <a:ext cx="2931484" cy="960437"/>
          </a:xfrm>
          <a:prstGeom prst="rect">
            <a:avLst/>
          </a:prstGeom>
        </p:spPr>
      </p:pic>
      <p:sp>
        <p:nvSpPr>
          <p:cNvPr id="16" name="Bildplatzhalter 15">
            <a:extLst>
              <a:ext uri="{FF2B5EF4-FFF2-40B4-BE49-F238E27FC236}">
                <a16:creationId xmlns:a16="http://schemas.microsoft.com/office/drawing/2014/main" id="{971D89B3-93B1-57A2-2934-C51B985EA126}"/>
              </a:ext>
            </a:extLst>
          </p:cNvPr>
          <p:cNvSpPr>
            <a:spLocks noGrp="1"/>
          </p:cNvSpPr>
          <p:nvPr>
            <p:ph type="pic" sz="quarter" idx="12" hasCustomPrompt="1"/>
          </p:nvPr>
        </p:nvSpPr>
        <p:spPr bwMode="invGray">
          <a:xfrm>
            <a:off x="4847547" y="2758440"/>
            <a:ext cx="1185292" cy="1185292"/>
          </a:xfrm>
          <a:solidFill>
            <a:schemeClr val="bg1">
              <a:lumMod val="95000"/>
            </a:schemeClr>
          </a:solidFill>
        </p:spPr>
        <p:txBody>
          <a:bodyPr>
            <a:noAutofit/>
          </a:bodyPr>
          <a:lstStyle>
            <a:lvl1pPr rtl="0">
              <a:defRPr sz="1000">
                <a:solidFill>
                  <a:schemeClr val="tx1"/>
                </a:solidFill>
              </a:defRPr>
            </a:lvl1pPr>
          </a:lstStyle>
          <a:p>
            <a:r>
              <a:rPr lang="de-DE" dirty="0"/>
              <a:t>Bild hinzufügen</a:t>
            </a:r>
          </a:p>
        </p:txBody>
      </p:sp>
      <p:sp>
        <p:nvSpPr>
          <p:cNvPr id="18" name="Bildplatzhalter 17">
            <a:extLst>
              <a:ext uri="{FF2B5EF4-FFF2-40B4-BE49-F238E27FC236}">
                <a16:creationId xmlns:a16="http://schemas.microsoft.com/office/drawing/2014/main" id="{B8743BA9-5CC3-01F3-D460-A28E65028C1E}"/>
              </a:ext>
            </a:extLst>
          </p:cNvPr>
          <p:cNvSpPr>
            <a:spLocks noGrp="1"/>
          </p:cNvSpPr>
          <p:nvPr>
            <p:ph type="pic" sz="quarter" idx="13" hasCustomPrompt="1"/>
          </p:nvPr>
        </p:nvSpPr>
        <p:spPr bwMode="invGray">
          <a:xfrm>
            <a:off x="8573705" y="2758440"/>
            <a:ext cx="1185292" cy="1185292"/>
          </a:xfrm>
          <a:solidFill>
            <a:schemeClr val="bg1">
              <a:lumMod val="95000"/>
            </a:schemeClr>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4847544"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8573702" y="4160040"/>
            <a:ext cx="3283335" cy="1077218"/>
          </a:xfrm>
        </p:spPr>
        <p:txBody>
          <a:bodyPr anchor="t">
            <a:noAutofit/>
          </a:bodyPr>
          <a:lstStyle>
            <a:lvl1pPr marL="0" indent="0" rtl="0">
              <a:spcAft>
                <a:spcPts val="0"/>
              </a:spcAft>
              <a:buFont typeface="Arial" panose="020B0604020202020204" pitchFamily="34" charset="0"/>
              <a:buNone/>
              <a:defRPr sz="1600" b="1">
                <a:solidFill>
                  <a:schemeClr val="bg1"/>
                </a:solidFill>
              </a:defRPr>
            </a:lvl1pPr>
            <a:lvl2pPr marL="0" indent="0" rtl="0">
              <a:spcAft>
                <a:spcPts val="0"/>
              </a:spcAft>
              <a:buNone/>
              <a:defRPr sz="16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a:p>
            <a:pPr lvl="1"/>
            <a:r>
              <a:rPr lang="de-DE" dirty="0"/>
              <a:t>Zweite Ebene</a:t>
            </a:r>
          </a:p>
        </p:txBody>
      </p:sp>
      <p:grpSp>
        <p:nvGrpSpPr>
          <p:cNvPr id="19" name="Gruppieren 18">
            <a:extLst>
              <a:ext uri="{FF2B5EF4-FFF2-40B4-BE49-F238E27FC236}">
                <a16:creationId xmlns:a16="http://schemas.microsoft.com/office/drawing/2014/main" id="{F48F1011-CEA9-23E0-7C84-35562381093F}"/>
              </a:ext>
            </a:extLst>
          </p:cNvPr>
          <p:cNvGrpSpPr/>
          <p:nvPr userDrawn="1"/>
        </p:nvGrpSpPr>
        <p:grpSpPr bwMode="invGray">
          <a:xfrm>
            <a:off x="4847545" y="6001299"/>
            <a:ext cx="4546959" cy="182762"/>
            <a:chOff x="4847545" y="6129338"/>
            <a:chExt cx="4546959" cy="182762"/>
          </a:xfrm>
        </p:grpSpPr>
        <p:sp>
          <p:nvSpPr>
            <p:cNvPr id="21" name="Textfeld 20">
              <a:extLst>
                <a:ext uri="{FF2B5EF4-FFF2-40B4-BE49-F238E27FC236}">
                  <a16:creationId xmlns:a16="http://schemas.microsoft.com/office/drawing/2014/main" id="{EC4DF9BB-B5E7-3168-C0FA-73C00D83F5F0}"/>
                </a:ext>
              </a:extLst>
            </p:cNvPr>
            <p:cNvSpPr txBox="1"/>
            <p:nvPr/>
          </p:nvSpPr>
          <p:spPr bwMode="invGray">
            <a:xfrm>
              <a:off x="5390187" y="6135984"/>
              <a:ext cx="4004317" cy="153888"/>
            </a:xfrm>
            <a:prstGeom prst="rect">
              <a:avLst/>
            </a:prstGeom>
            <a:noFill/>
          </p:spPr>
          <p:txBody>
            <a:bodyPr wrap="square" lIns="0" tIns="0" rIns="0" bIns="0" rtlCol="0" anchor="ctr">
              <a:noAutofit/>
            </a:bodyPr>
            <a:lstStyle/>
            <a:p>
              <a:pPr rtl="0"/>
              <a:r>
                <a:rPr lang="de-DE" sz="1000" dirty="0">
                  <a:solidFill>
                    <a:schemeClr val="bg1"/>
                  </a:solidFill>
                  <a:ea typeface="Akkurat LL Thin" panose="020B0404020101010102" pitchFamily="34" charset="-126"/>
                  <a:cs typeface="Akkurat LL Thin" panose="020B0404020101010102" pitchFamily="34" charset="-126"/>
                </a:rPr>
                <a:t>msg systems AG | Robert-Bürkle-Straße 1 | 85737 Ismaning</a:t>
              </a:r>
              <a:endParaRPr lang="de-DE" sz="1000" dirty="0">
                <a:solidFill>
                  <a:schemeClr val="bg1"/>
                </a:solidFill>
                <a:ea typeface="Akkurat LL" panose="020B0504020101010102" pitchFamily="34" charset="-126"/>
                <a:cs typeface="Akkurat LL" panose="020B0504020101010102" pitchFamily="34" charset="-126"/>
              </a:endParaRPr>
            </a:p>
          </p:txBody>
        </p:sp>
        <p:pic>
          <p:nvPicPr>
            <p:cNvPr id="23" name="Grafik 22">
              <a:extLst>
                <a:ext uri="{FF2B5EF4-FFF2-40B4-BE49-F238E27FC236}">
                  <a16:creationId xmlns:a16="http://schemas.microsoft.com/office/drawing/2014/main" id="{EBA01250-A194-9795-3113-B2B8023CC526}"/>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4847545" y="6129338"/>
              <a:ext cx="182762" cy="182762"/>
            </a:xfrm>
            <a:prstGeom prst="rect">
              <a:avLst/>
            </a:prstGeom>
          </p:spPr>
        </p:pic>
        <p:pic>
          <p:nvPicPr>
            <p:cNvPr id="25" name="Grafik 24">
              <a:extLst>
                <a:ext uri="{FF2B5EF4-FFF2-40B4-BE49-F238E27FC236}">
                  <a16:creationId xmlns:a16="http://schemas.microsoft.com/office/drawing/2014/main" id="{4CEF99CA-5A25-D226-D890-5E26E087FB84}"/>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bwMode="invGray">
            <a:xfrm>
              <a:off x="5112937" y="6129338"/>
              <a:ext cx="182762" cy="182762"/>
            </a:xfrm>
            <a:prstGeom prst="rect">
              <a:avLst/>
            </a:prstGeom>
          </p:spPr>
        </p:pic>
      </p:grpSp>
      <p:grpSp>
        <p:nvGrpSpPr>
          <p:cNvPr id="27" name="Gruppieren 26">
            <a:extLst>
              <a:ext uri="{FF2B5EF4-FFF2-40B4-BE49-F238E27FC236}">
                <a16:creationId xmlns:a16="http://schemas.microsoft.com/office/drawing/2014/main" id="{D004AE93-6883-EEA0-5811-9F1FA9B7B87D}"/>
              </a:ext>
            </a:extLst>
          </p:cNvPr>
          <p:cNvGrpSpPr>
            <a:grpSpLocks/>
          </p:cNvGrpSpPr>
          <p:nvPr userDrawn="1"/>
        </p:nvGrpSpPr>
        <p:grpSpPr>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 name="Gruppieren 31">
            <a:extLst>
              <a:ext uri="{FF2B5EF4-FFF2-40B4-BE49-F238E27FC236}">
                <a16:creationId xmlns:a16="http://schemas.microsoft.com/office/drawing/2014/main" id="{ABB335D7-DC68-8C97-744F-207AAFF3C2D3}"/>
              </a:ext>
            </a:extLst>
          </p:cNvPr>
          <p:cNvGrpSpPr/>
          <p:nvPr userDrawn="1"/>
        </p:nvGrpSpPr>
        <p:grpSpPr>
          <a:xfrm>
            <a:off x="-254000" y="296863"/>
            <a:ext cx="144000" cy="6300787"/>
            <a:chOff x="0" y="296863"/>
            <a:chExt cx="12192000" cy="6300787"/>
          </a:xfrm>
        </p:grpSpPr>
        <p:cxnSp>
          <p:nvCxnSpPr>
            <p:cNvPr id="33" name="Gerader Verbinder 32">
              <a:extLst>
                <a:ext uri="{FF2B5EF4-FFF2-40B4-BE49-F238E27FC236}">
                  <a16:creationId xmlns:a16="http://schemas.microsoft.com/office/drawing/2014/main" id="{7562FD39-61D5-1EA0-97A5-03505D76EC10}"/>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841A79D-D9C9-FAA6-9E70-7D6CB0C3856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2E45B68F-BB65-EACB-36A3-966B1FDD99E5}"/>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163E921-802E-A5A8-D248-BA56B7E2B1B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B9D18FB0-F9B9-4A90-08A9-207F1F0B02A7}"/>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F58BCCE-40A2-0E04-22C4-3543AD0D627E}"/>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F6EBD544-EE1C-31B1-45FF-AE1379260CAB}"/>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Lst>
          </p:cNvPr>
          <p:cNvGrpSpPr>
            <a:grpSpLocks/>
          </p:cNvGrpSpPr>
          <p:nvPr userDrawn="1"/>
        </p:nvGrpSpPr>
        <p:grpSpPr>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A92AC120-8C5B-9252-0F62-DA20AE39FC0F}"/>
              </a:ext>
            </a:extLst>
          </p:cNvPr>
          <p:cNvGrpSpPr/>
          <p:nvPr userDrawn="1"/>
        </p:nvGrpSpPr>
        <p:grpSpPr>
          <a:xfrm>
            <a:off x="12301940" y="296863"/>
            <a:ext cx="144000" cy="6300787"/>
            <a:chOff x="0" y="296863"/>
            <a:chExt cx="12192000" cy="6300787"/>
          </a:xfrm>
        </p:grpSpPr>
        <p:cxnSp>
          <p:nvCxnSpPr>
            <p:cNvPr id="49" name="Gerader Verbinder 48">
              <a:extLst>
                <a:ext uri="{FF2B5EF4-FFF2-40B4-BE49-F238E27FC236}">
                  <a16:creationId xmlns:a16="http://schemas.microsoft.com/office/drawing/2014/main" id="{902F9B3C-984B-483F-3728-18199AF0A7F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4257E047-8A93-F9E6-219E-596869595087}"/>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3099E055-6F8C-048F-6A6B-6AD05566A07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5B12254-E552-3F6F-199D-E5ED0EBE54D9}"/>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155F4E3-8D05-D8CB-8F9D-43D911368F3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79BC4E9-8C5C-01F7-7E22-5C0BF4F9CA2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8BDD245F-D6D5-2C65-B39D-4911FB20374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308447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D0330C4E-A033-E92E-949C-FBC11C35397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921" t="-15471" r="42112" b="40016"/>
          <a:stretch/>
        </p:blipFill>
        <p:spPr bwMode="invGray">
          <a:xfrm>
            <a:off x="4562475" y="1"/>
            <a:ext cx="7629525" cy="6858000"/>
          </a:xfrm>
          <a:prstGeom prst="rect">
            <a:avLst/>
          </a:prstGeom>
          <a:solidFill>
            <a:srgbClr val="000000"/>
          </a:solidFill>
        </p:spPr>
      </p:pic>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invGray">
          <a:xfrm>
            <a:off x="623889" y="2282524"/>
            <a:ext cx="5357812" cy="1107996"/>
          </a:xfrm>
        </p:spPr>
        <p:txBody>
          <a:bodyPr vert="horz" anchor="b">
            <a:noAutofit/>
          </a:bodyPr>
          <a:lstStyle>
            <a:lvl1pPr rtl="0">
              <a:defRPr sz="7200">
                <a:solidFill>
                  <a:schemeClr val="bg1"/>
                </a:solidFill>
              </a:defRPr>
            </a:lvl1pPr>
          </a:lstStyle>
          <a:p>
            <a:r>
              <a:rPr lang="de-DE" dirty="0"/>
              <a:t>Vielen Dank</a:t>
            </a:r>
          </a:p>
        </p:txBody>
      </p:sp>
      <p:pic>
        <p:nvPicPr>
          <p:cNvPr id="15" name="Grafik 14">
            <a:extLst>
              <a:ext uri="{FF2B5EF4-FFF2-40B4-BE49-F238E27FC236}">
                <a16:creationId xmlns:a16="http://schemas.microsoft.com/office/drawing/2014/main" id="{F8E3160A-CF32-2708-6755-7FDC911A37B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invGray">
          <a:xfrm>
            <a:off x="623888" y="3725696"/>
            <a:ext cx="2557462" cy="837897"/>
          </a:xfrm>
          <a:prstGeom prst="rect">
            <a:avLst/>
          </a:prstGeom>
        </p:spPr>
      </p:pic>
      <p:pic>
        <p:nvPicPr>
          <p:cNvPr id="19" name="Grafik 18">
            <a:extLst>
              <a:ext uri="{FF2B5EF4-FFF2-40B4-BE49-F238E27FC236}">
                <a16:creationId xmlns:a16="http://schemas.microsoft.com/office/drawing/2014/main" id="{AD55E117-5BAD-9C80-0F02-A5C8C7D8DB1B}"/>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invGray">
          <a:xfrm>
            <a:off x="10957038" y="6352424"/>
            <a:ext cx="900000" cy="324000"/>
          </a:xfrm>
          <a:prstGeom prst="rect">
            <a:avLst/>
          </a:prstGeom>
        </p:spPr>
      </p:pic>
      <p:pic>
        <p:nvPicPr>
          <p:cNvPr id="20" name="Grafik 19">
            <a:extLst>
              <a:ext uri="{FF2B5EF4-FFF2-40B4-BE49-F238E27FC236}">
                <a16:creationId xmlns:a16="http://schemas.microsoft.com/office/drawing/2014/main" id="{F5A70389-DB5D-25A7-C282-469FF65CB8D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invGray">
          <a:xfrm>
            <a:off x="10704521" y="296864"/>
            <a:ext cx="1152942" cy="360000"/>
          </a:xfrm>
          <a:prstGeom prst="rect">
            <a:avLst/>
          </a:prstGeom>
        </p:spPr>
      </p:pic>
    </p:spTree>
    <p:extLst>
      <p:ext uri="{BB962C8B-B14F-4D97-AF65-F5344CB8AC3E}">
        <p14:creationId xmlns:p14="http://schemas.microsoft.com/office/powerpoint/2010/main" val="2684266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74858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noAutofit/>
          </a:bodyPr>
          <a:lstStyle>
            <a:lvl1pPr rtl="0">
              <a:defRPr>
                <a:solidFill>
                  <a:schemeClr val="tx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pic>
        <p:nvPicPr>
          <p:cNvPr id="3" name="Grafik 2">
            <a:extLst>
              <a:ext uri="{FF2B5EF4-FFF2-40B4-BE49-F238E27FC236}">
                <a16:creationId xmlns:a16="http://schemas.microsoft.com/office/drawing/2014/main" id="{F5739E0A-DC91-4BC9-36C6-63DECBC72B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4" name="Grafik 3">
            <a:extLst>
              <a:ext uri="{FF2B5EF4-FFF2-40B4-BE49-F238E27FC236}">
                <a16:creationId xmlns:a16="http://schemas.microsoft.com/office/drawing/2014/main" id="{A4217DD2-FE6E-B546-0F9F-3C89EB15237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inv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inv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inv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inv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inv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inv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inv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bg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bg1"/>
          </a:solidFill>
        </p:spPr>
        <p:txBody>
          <a:bodyPr anchor="ctr">
            <a:noAutofit/>
          </a:bodyPr>
          <a:lstStyle>
            <a:lvl1pPr algn="ctr" rtl="0">
              <a:defRPr sz="2000">
                <a:solidFill>
                  <a:schemeClr val="tx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bg1"/>
          </a:solidFill>
        </p:spPr>
        <p:txBody>
          <a:bodyPr anchor="ctr">
            <a:noAutofit/>
          </a:bodyPr>
          <a:lstStyle>
            <a:lvl1pPr algn="ctr" rtl="0">
              <a:defRPr sz="2000">
                <a:solidFill>
                  <a:schemeClr val="tx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bg1"/>
          </a:solidFill>
        </p:spPr>
        <p:txBody>
          <a:bodyPr anchor="ctr">
            <a:noAutofit/>
          </a:bodyPr>
          <a:lstStyle>
            <a:lvl1pPr algn="ctr" rtl="0">
              <a:defRPr sz="2000">
                <a:solidFill>
                  <a:schemeClr val="tx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bg1"/>
          </a:solidFill>
        </p:spPr>
        <p:txBody>
          <a:bodyPr anchor="ctr">
            <a:noAutofit/>
          </a:bodyPr>
          <a:lstStyle>
            <a:lvl1pPr algn="ctr" rtl="0">
              <a:defRPr sz="2000">
                <a:solidFill>
                  <a:schemeClr val="tx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bg1"/>
          </a:solidFill>
        </p:spPr>
        <p:txBody>
          <a:bodyPr anchor="ctr">
            <a:noAutofit/>
          </a:bodyPr>
          <a:lstStyle>
            <a:lvl1pPr algn="ctr" rtl="0">
              <a:defRPr sz="2000">
                <a:solidFill>
                  <a:schemeClr val="tx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bg1"/>
          </a:solidFill>
        </p:spPr>
        <p:txBody>
          <a:bodyPr anchor="ctr">
            <a:noAutofit/>
          </a:bodyPr>
          <a:lstStyle>
            <a:lvl1pPr algn="ctr" rtl="0">
              <a:defRPr sz="2000">
                <a:solidFill>
                  <a:schemeClr val="tx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bg1"/>
          </a:solidFill>
        </p:spPr>
        <p:txBody>
          <a:bodyPr anchor="ctr">
            <a:noAutofit/>
          </a:bodyPr>
          <a:lstStyle>
            <a:lvl1pPr algn="ctr" rtl="0">
              <a:defRPr sz="2000">
                <a:solidFill>
                  <a:schemeClr val="tx1"/>
                </a:solidFill>
              </a:defRPr>
            </a:lvl1pPr>
          </a:lstStyle>
          <a:p>
            <a:pPr lvl="0"/>
            <a:r>
              <a:rPr lang="de-DE" dirty="0"/>
              <a:t>07</a:t>
            </a:r>
          </a:p>
        </p:txBody>
      </p:sp>
      <p:sp>
        <p:nvSpPr>
          <p:cNvPr id="49" name="Titel 48">
            <a:extLst>
              <a:ext uri="{FF2B5EF4-FFF2-40B4-BE49-F238E27FC236}">
                <a16:creationId xmlns:a16="http://schemas.microsoft.com/office/drawing/2014/main" id="{B3BF5E21-1875-B413-4FFA-206CF7D0483D}"/>
              </a:ext>
            </a:extLst>
          </p:cNvPr>
          <p:cNvSpPr>
            <a:spLocks noGrp="1"/>
          </p:cNvSpPr>
          <p:nvPr>
            <p:ph type="title" hasCustomPrompt="1"/>
          </p:nvPr>
        </p:nvSpPr>
        <p:spPr bwMode="invGray">
          <a:xfrm>
            <a:off x="4847545" y="620713"/>
            <a:ext cx="5265176" cy="738664"/>
          </a:xfrm>
        </p:spPr>
        <p:txBody>
          <a:bodyPr vert="horz">
            <a:noAutofit/>
          </a:bodyPr>
          <a:lstStyle>
            <a:lvl1pPr rtl="0">
              <a:defRPr sz="4000">
                <a:solidFill>
                  <a:schemeClr val="bg1"/>
                </a:solidFill>
              </a:defRPr>
            </a:lvl1pPr>
          </a:lstStyle>
          <a:p>
            <a:r>
              <a:rPr lang="de-DE" dirty="0"/>
              <a:t>Agenda</a:t>
            </a:r>
          </a:p>
        </p:txBody>
      </p:sp>
      <p:grpSp>
        <p:nvGrpSpPr>
          <p:cNvPr id="78" name="Gruppieren 77">
            <a:extLst>
              <a:ext uri="{FF2B5EF4-FFF2-40B4-BE49-F238E27FC236}">
                <a16:creationId xmlns:a16="http://schemas.microsoft.com/office/drawing/2014/main" id="{8860CAF5-1FB4-CC89-E28B-1594F5FC04CC}"/>
              </a:ext>
            </a:extLst>
          </p:cNvPr>
          <p:cNvGrpSpPr>
            <a:grpSpLocks/>
          </p:cNvGrpSpPr>
          <p:nvPr userDrawn="1"/>
        </p:nvGrpSpPr>
        <p:grpSpPr>
          <a:xfrm>
            <a:off x="623888" y="-254000"/>
            <a:ext cx="11233150" cy="144000"/>
            <a:chOff x="623888" y="0"/>
            <a:chExt cx="11233150" cy="6858000"/>
          </a:xfrm>
        </p:grpSpPr>
        <p:cxnSp>
          <p:nvCxnSpPr>
            <p:cNvPr id="79" name="Gerader Verbinder 78">
              <a:extLst>
                <a:ext uri="{FF2B5EF4-FFF2-40B4-BE49-F238E27FC236}">
                  <a16:creationId xmlns:a16="http://schemas.microsoft.com/office/drawing/2014/main" id="{73F4F8BB-F510-F9DE-A3E2-62BB33458B8F}"/>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8F08634D-3160-810D-E192-A7FA3700DB48}"/>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1" name="Gruppieren 80">
            <a:extLst>
              <a:ext uri="{FF2B5EF4-FFF2-40B4-BE49-F238E27FC236}">
                <a16:creationId xmlns:a16="http://schemas.microsoft.com/office/drawing/2014/main" id="{69E7A4D1-AB05-35F5-DFAC-E0DDDAFB44CF}"/>
              </a:ext>
            </a:extLst>
          </p:cNvPr>
          <p:cNvGrpSpPr/>
          <p:nvPr userDrawn="1"/>
        </p:nvGrpSpPr>
        <p:grpSpPr>
          <a:xfrm>
            <a:off x="-254000" y="296863"/>
            <a:ext cx="144000" cy="6300787"/>
            <a:chOff x="0" y="296863"/>
            <a:chExt cx="12192000" cy="6300787"/>
          </a:xfrm>
        </p:grpSpPr>
        <p:cxnSp>
          <p:nvCxnSpPr>
            <p:cNvPr id="82" name="Gerader Verbinder 81">
              <a:extLst>
                <a:ext uri="{FF2B5EF4-FFF2-40B4-BE49-F238E27FC236}">
                  <a16:creationId xmlns:a16="http://schemas.microsoft.com/office/drawing/2014/main" id="{76FECC36-8172-DC17-5855-A3527B60B256}"/>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BB04E9D6-0810-D6B1-AB02-FA0BE44269AA}"/>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E61487B4-D332-1D80-AD2C-DEFC2F52F4C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DB84CE74-687B-25DB-C718-5C887A83D44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15C02962-5905-0240-8F11-D75CEE5F778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7E851638-362A-0C67-E500-121DC5DF9D87}"/>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88C7459D-EFFB-7DBC-5982-91192707717D}"/>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23DF339C-91C3-23B0-ADC6-6A0FCCE1D508}"/>
              </a:ext>
            </a:extLst>
          </p:cNvPr>
          <p:cNvGrpSpPr>
            <a:grpSpLocks/>
          </p:cNvGrpSpPr>
          <p:nvPr userDrawn="1"/>
        </p:nvGrpSpPr>
        <p:grpSpPr>
          <a:xfrm>
            <a:off x="623888" y="6972300"/>
            <a:ext cx="11233150" cy="144000"/>
            <a:chOff x="623888" y="0"/>
            <a:chExt cx="11233150" cy="6858000"/>
          </a:xfrm>
        </p:grpSpPr>
        <p:cxnSp>
          <p:nvCxnSpPr>
            <p:cNvPr id="90" name="Gerader Verbinder 89">
              <a:extLst>
                <a:ext uri="{FF2B5EF4-FFF2-40B4-BE49-F238E27FC236}">
                  <a16:creationId xmlns:a16="http://schemas.microsoft.com/office/drawing/2014/main" id="{E70839AB-45C4-21C5-76D4-EF42E239AD5C}"/>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0CDE3CD0-ED78-EB20-6DB5-08BD1D254AC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uppieren 91">
            <a:extLst>
              <a:ext uri="{FF2B5EF4-FFF2-40B4-BE49-F238E27FC236}">
                <a16:creationId xmlns:a16="http://schemas.microsoft.com/office/drawing/2014/main" id="{FEB9CFA0-5A1A-AD1F-5046-D5DEAC8E1BF8}"/>
              </a:ext>
            </a:extLst>
          </p:cNvPr>
          <p:cNvGrpSpPr/>
          <p:nvPr userDrawn="1"/>
        </p:nvGrpSpPr>
        <p:grpSpPr>
          <a:xfrm>
            <a:off x="12301940" y="296863"/>
            <a:ext cx="144000" cy="6300787"/>
            <a:chOff x="0" y="296863"/>
            <a:chExt cx="12192000" cy="6300787"/>
          </a:xfrm>
        </p:grpSpPr>
        <p:cxnSp>
          <p:nvCxnSpPr>
            <p:cNvPr id="93" name="Gerader Verbinder 92">
              <a:extLst>
                <a:ext uri="{FF2B5EF4-FFF2-40B4-BE49-F238E27FC236}">
                  <a16:creationId xmlns:a16="http://schemas.microsoft.com/office/drawing/2014/main" id="{378A8FC3-1FBA-880D-97CC-6217C94A77A7}"/>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0042271D-5C18-4399-CB8B-083BA3639236}"/>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35DFEB05-7143-50BF-2ADD-90DA7ED075B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59921E7E-EF3F-F652-F3E2-B462E78A9B85}"/>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1BBF014D-1F14-303C-8B9C-718A1D6ED41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A66F9A40-177A-45CE-C909-1A8C4D027E9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663FC65-DEEB-185E-E6E8-4CD4D3B876E0}"/>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8101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87892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inv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invGray">
          <a:xfrm>
            <a:off x="5119688" y="1773238"/>
            <a:ext cx="5472112" cy="1661993"/>
          </a:xfrm>
        </p:spPr>
        <p:txBody>
          <a:bodyPr vert="horz" anchor="t"/>
          <a:lstStyle>
            <a:lvl1pPr rtl="0">
              <a:defRPr sz="5400">
                <a:solidFill>
                  <a:schemeClr val="bg1"/>
                </a:solidFill>
              </a:defRPr>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invGray"/>
        <p:txBody>
          <a:bodyPr/>
          <a:lstStyle>
            <a:lvl1pPr rtl="0">
              <a:defRPr>
                <a:solidFill>
                  <a:schemeClr val="tx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invGray"/>
        <p:txBody>
          <a:bodyPr/>
          <a:lstStyle>
            <a:lvl1pPr rtl="0">
              <a:defRPr>
                <a:solidFill>
                  <a:schemeClr val="tx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pic>
        <p:nvPicPr>
          <p:cNvPr id="4" name="Grafik 3">
            <a:extLst>
              <a:ext uri="{FF2B5EF4-FFF2-40B4-BE49-F238E27FC236}">
                <a16:creationId xmlns:a16="http://schemas.microsoft.com/office/drawing/2014/main" id="{C8D1AFE5-A3A4-1D22-B2BD-9B5EAC3C87EC}"/>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0957038" y="6352424"/>
            <a:ext cx="900000" cy="324000"/>
          </a:xfrm>
          <a:prstGeom prst="rect">
            <a:avLst/>
          </a:prstGeom>
        </p:spPr>
      </p:pic>
      <p:pic>
        <p:nvPicPr>
          <p:cNvPr id="5" name="Grafik 4">
            <a:extLst>
              <a:ext uri="{FF2B5EF4-FFF2-40B4-BE49-F238E27FC236}">
                <a16:creationId xmlns:a16="http://schemas.microsoft.com/office/drawing/2014/main" id="{9A78BBC6-876A-45E9-B5EC-EF4D0789BCA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invGray">
          <a:xfrm>
            <a:off x="10704521" y="296864"/>
            <a:ext cx="1152942" cy="360000"/>
          </a:xfrm>
          <a:prstGeom prst="rect">
            <a:avLst/>
          </a:prstGeom>
        </p:spPr>
      </p:pic>
      <p:grpSp>
        <p:nvGrpSpPr>
          <p:cNvPr id="35" name="Gruppieren 34">
            <a:extLst>
              <a:ext uri="{FF2B5EF4-FFF2-40B4-BE49-F238E27FC236}">
                <a16:creationId xmlns:a16="http://schemas.microsoft.com/office/drawing/2014/main" id="{36656A55-E131-CC9A-651C-6C5B3B2FFC17}"/>
              </a:ext>
            </a:extLst>
          </p:cNvPr>
          <p:cNvGrpSpPr>
            <a:grpSpLocks/>
          </p:cNvGrpSpPr>
          <p:nvPr userDrawn="1"/>
        </p:nvGrpSpPr>
        <p:grpSpPr>
          <a:xfrm>
            <a:off x="623888" y="-254000"/>
            <a:ext cx="11233150" cy="144000"/>
            <a:chOff x="623888" y="0"/>
            <a:chExt cx="11233150" cy="6858000"/>
          </a:xfrm>
        </p:grpSpPr>
        <p:cxnSp>
          <p:nvCxnSpPr>
            <p:cNvPr id="36" name="Gerader Verbinder 35">
              <a:extLst>
                <a:ext uri="{FF2B5EF4-FFF2-40B4-BE49-F238E27FC236}">
                  <a16:creationId xmlns:a16="http://schemas.microsoft.com/office/drawing/2014/main" id="{6257926F-4AEF-2C4C-6548-A9E072C38562}"/>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290BCF-B0EA-9DA5-1C12-CCC2561D640C}"/>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8" name="Gruppieren 37">
            <a:extLst>
              <a:ext uri="{FF2B5EF4-FFF2-40B4-BE49-F238E27FC236}">
                <a16:creationId xmlns:a16="http://schemas.microsoft.com/office/drawing/2014/main" id="{3A2E8124-17BA-072C-2419-E42A8E4514C8}"/>
              </a:ext>
            </a:extLst>
          </p:cNvPr>
          <p:cNvGrpSpPr/>
          <p:nvPr userDrawn="1"/>
        </p:nvGrpSpPr>
        <p:grpSpPr>
          <a:xfrm>
            <a:off x="-254000" y="296863"/>
            <a:ext cx="144000" cy="6300787"/>
            <a:chOff x="0" y="296863"/>
            <a:chExt cx="12192000" cy="6300787"/>
          </a:xfrm>
        </p:grpSpPr>
        <p:cxnSp>
          <p:nvCxnSpPr>
            <p:cNvPr id="39" name="Gerader Verbinder 38">
              <a:extLst>
                <a:ext uri="{FF2B5EF4-FFF2-40B4-BE49-F238E27FC236}">
                  <a16:creationId xmlns:a16="http://schemas.microsoft.com/office/drawing/2014/main" id="{8C7622E5-21EF-F79F-A044-FD91E75C19BB}"/>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D9C14831-5BD2-4FA8-4321-FC579C4810AC}"/>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59F31821-1B71-CEF6-1B08-2A8111DD9ED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DA82432-1A77-4296-CF7B-AFE7873D1F3C}"/>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75AB4E35-03F9-BCA3-EDC3-87454D1901EC}"/>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459858C-499A-69C6-8F5D-F90ADAF0BEF1}"/>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6B46C3FA-585E-6890-8E8A-50736F1873D2}"/>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6" name="Gruppieren 45">
            <a:extLst>
              <a:ext uri="{FF2B5EF4-FFF2-40B4-BE49-F238E27FC236}">
                <a16:creationId xmlns:a16="http://schemas.microsoft.com/office/drawing/2014/main" id="{61FAA489-04B1-A238-EE66-0C854B1AF1CF}"/>
              </a:ext>
            </a:extLst>
          </p:cNvPr>
          <p:cNvGrpSpPr>
            <a:grpSpLocks/>
          </p:cNvGrpSpPr>
          <p:nvPr userDrawn="1"/>
        </p:nvGrpSpPr>
        <p:grpSpPr>
          <a:xfrm>
            <a:off x="623888" y="6972300"/>
            <a:ext cx="11233150" cy="144000"/>
            <a:chOff x="623888" y="0"/>
            <a:chExt cx="11233150" cy="6858000"/>
          </a:xfrm>
        </p:grpSpPr>
        <p:cxnSp>
          <p:nvCxnSpPr>
            <p:cNvPr id="47" name="Gerader Verbinder 46">
              <a:extLst>
                <a:ext uri="{FF2B5EF4-FFF2-40B4-BE49-F238E27FC236}">
                  <a16:creationId xmlns:a16="http://schemas.microsoft.com/office/drawing/2014/main" id="{63B972BC-80C2-1E6E-F99C-EBCD0187C0A1}"/>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837E44CA-5AB2-BC43-2597-3B31E7A41766}"/>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9" name="Gruppieren 48">
            <a:extLst>
              <a:ext uri="{FF2B5EF4-FFF2-40B4-BE49-F238E27FC236}">
                <a16:creationId xmlns:a16="http://schemas.microsoft.com/office/drawing/2014/main" id="{834FCD41-824F-BA2F-8041-96E203EA2F83}"/>
              </a:ext>
            </a:extLst>
          </p:cNvPr>
          <p:cNvGrpSpPr/>
          <p:nvPr userDrawn="1"/>
        </p:nvGrpSpPr>
        <p:grpSpPr>
          <a:xfrm>
            <a:off x="12301940" y="296863"/>
            <a:ext cx="144000" cy="6300787"/>
            <a:chOff x="0" y="296863"/>
            <a:chExt cx="12192000" cy="6300787"/>
          </a:xfrm>
        </p:grpSpPr>
        <p:cxnSp>
          <p:nvCxnSpPr>
            <p:cNvPr id="50" name="Gerader Verbinder 49">
              <a:extLst>
                <a:ext uri="{FF2B5EF4-FFF2-40B4-BE49-F238E27FC236}">
                  <a16:creationId xmlns:a16="http://schemas.microsoft.com/office/drawing/2014/main" id="{F9CF5ADA-894D-6102-A99C-AE8E7BBF97D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42D0C3F-315A-444B-2A4A-CB61708CB908}"/>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35BCD1BA-6B27-E32B-95AC-A78F86BBC8D0}"/>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4A2C2AF-5302-770F-DC09-2B2481F38021}"/>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D9FBB3B-4BB2-BB5A-6CF3-14B7D478CD80}"/>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EB283EB6-3418-9E9C-B7B7-979F9B1803EA}"/>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D73977F1-0090-2AF7-B997-9F91F7A9B90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0928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eiß">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92958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BDA6BF1D-E510-0BEC-EF88-935F00E74E04}"/>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bg1"/>
                </a:solidFill>
              </a:defRPr>
            </a:lvl1pPr>
          </a:lstStyle>
          <a:p>
            <a:fld id="{1FBD72F1-A42A-46B0-A7F8-CE6A9835826C}" type="slidenum">
              <a:rPr lang="de-DE" smtClean="0"/>
              <a:pPr/>
              <a:t>‹Nr.›</a:t>
            </a:fld>
            <a:endParaRPr lang="de-DE" dirty="0"/>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5548516" y="1866127"/>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5548516" y="2461633"/>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5548516" y="3057139"/>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5548516" y="3652646"/>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5548516" y="4248152"/>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5548516" y="4843658"/>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5548516" y="5439164"/>
            <a:ext cx="540852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dirty="0"/>
              <a:t>Mastertext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4847545" y="1773238"/>
            <a:ext cx="432000" cy="432000"/>
          </a:xfrm>
          <a:solidFill>
            <a:schemeClr val="tx1"/>
          </a:solidFill>
        </p:spPr>
        <p:txBody>
          <a:bodyPr anchor="ctr">
            <a:noAutofit/>
          </a:bodyPr>
          <a:lstStyle>
            <a:lvl1pPr algn="ctr" rtl="0">
              <a:defRPr sz="2000">
                <a:solidFill>
                  <a:schemeClr val="bg1"/>
                </a:solidFill>
              </a:defRPr>
            </a:lvl1pPr>
          </a:lstStyle>
          <a:p>
            <a:pPr lvl="0"/>
            <a:r>
              <a:rPr lang="de-DE" dirty="0"/>
              <a:t>01</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4847545" y="2368744"/>
            <a:ext cx="432000" cy="432000"/>
          </a:xfrm>
          <a:solidFill>
            <a:schemeClr val="tx1"/>
          </a:solidFill>
        </p:spPr>
        <p:txBody>
          <a:bodyPr anchor="ctr">
            <a:noAutofit/>
          </a:bodyPr>
          <a:lstStyle>
            <a:lvl1pPr algn="ctr" rtl="0">
              <a:defRPr sz="2000">
                <a:solidFill>
                  <a:schemeClr val="bg1"/>
                </a:solidFill>
              </a:defRPr>
            </a:lvl1pPr>
          </a:lstStyle>
          <a:p>
            <a:pPr lvl="0"/>
            <a:r>
              <a:rPr lang="de-DE" dirty="0"/>
              <a:t>02</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4847545" y="2964250"/>
            <a:ext cx="432000" cy="432000"/>
          </a:xfrm>
          <a:solidFill>
            <a:schemeClr val="tx1"/>
          </a:solidFill>
        </p:spPr>
        <p:txBody>
          <a:bodyPr anchor="ctr">
            <a:noAutofit/>
          </a:bodyPr>
          <a:lstStyle>
            <a:lvl1pPr algn="ctr" rtl="0">
              <a:defRPr sz="2000">
                <a:solidFill>
                  <a:schemeClr val="bg1"/>
                </a:solidFill>
              </a:defRPr>
            </a:lvl1pPr>
          </a:lstStyle>
          <a:p>
            <a:pPr lvl="0"/>
            <a:r>
              <a:rPr lang="de-DE" dirty="0"/>
              <a:t>03</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4847545" y="3559756"/>
            <a:ext cx="432000" cy="432000"/>
          </a:xfrm>
          <a:solidFill>
            <a:schemeClr val="tx1"/>
          </a:solidFill>
        </p:spPr>
        <p:txBody>
          <a:bodyPr anchor="ctr">
            <a:noAutofit/>
          </a:bodyPr>
          <a:lstStyle>
            <a:lvl1pPr algn="ctr" rtl="0">
              <a:defRPr sz="2000">
                <a:solidFill>
                  <a:schemeClr val="bg1"/>
                </a:solidFill>
              </a:defRPr>
            </a:lvl1pPr>
          </a:lstStyle>
          <a:p>
            <a:pPr lvl="0"/>
            <a:r>
              <a:rPr lang="de-DE" dirty="0"/>
              <a:t>04</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4847545" y="4155262"/>
            <a:ext cx="432000" cy="432000"/>
          </a:xfrm>
          <a:solidFill>
            <a:schemeClr val="tx1"/>
          </a:solidFill>
        </p:spPr>
        <p:txBody>
          <a:bodyPr anchor="ctr">
            <a:noAutofit/>
          </a:bodyPr>
          <a:lstStyle>
            <a:lvl1pPr algn="ctr" rtl="0">
              <a:defRPr sz="2000">
                <a:solidFill>
                  <a:schemeClr val="bg1"/>
                </a:solidFill>
              </a:defRPr>
            </a:lvl1pPr>
          </a:lstStyle>
          <a:p>
            <a:pPr lvl="0"/>
            <a:r>
              <a:rPr lang="de-DE" dirty="0"/>
              <a:t>05</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4847545" y="4750768"/>
            <a:ext cx="432000" cy="432000"/>
          </a:xfrm>
          <a:solidFill>
            <a:schemeClr val="tx1"/>
          </a:solidFill>
        </p:spPr>
        <p:txBody>
          <a:bodyPr anchor="ctr">
            <a:noAutofit/>
          </a:bodyPr>
          <a:lstStyle>
            <a:lvl1pPr algn="ctr" rtl="0">
              <a:defRPr sz="2000">
                <a:solidFill>
                  <a:schemeClr val="bg1"/>
                </a:solidFill>
              </a:defRPr>
            </a:lvl1pPr>
          </a:lstStyle>
          <a:p>
            <a:pPr lvl="0"/>
            <a:r>
              <a:rPr lang="de-DE" dirty="0"/>
              <a:t>06</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4847545" y="5346274"/>
            <a:ext cx="432000" cy="432000"/>
          </a:xfrm>
          <a:solidFill>
            <a:schemeClr val="tx1"/>
          </a:solidFill>
        </p:spPr>
        <p:txBody>
          <a:bodyPr anchor="ctr">
            <a:noAutofit/>
          </a:bodyPr>
          <a:lstStyle>
            <a:lvl1pPr algn="ctr" rtl="0">
              <a:defRPr sz="2000">
                <a:solidFill>
                  <a:schemeClr val="bg1"/>
                </a:solidFill>
              </a:defRPr>
            </a:lvl1pPr>
          </a:lstStyle>
          <a:p>
            <a:pPr lvl="0"/>
            <a:r>
              <a:rPr lang="de-DE" dirty="0"/>
              <a:t>07</a:t>
            </a:r>
          </a:p>
        </p:txBody>
      </p:sp>
      <p:sp>
        <p:nvSpPr>
          <p:cNvPr id="2" name="Titel 1">
            <a:extLst>
              <a:ext uri="{FF2B5EF4-FFF2-40B4-BE49-F238E27FC236}">
                <a16:creationId xmlns:a16="http://schemas.microsoft.com/office/drawing/2014/main" id="{4C5EFEA4-703B-3476-416C-7F3FAF6836E1}"/>
              </a:ext>
            </a:extLst>
          </p:cNvPr>
          <p:cNvSpPr>
            <a:spLocks noGrp="1"/>
          </p:cNvSpPr>
          <p:nvPr>
            <p:ph type="title" hasCustomPrompt="1"/>
          </p:nvPr>
        </p:nvSpPr>
        <p:spPr bwMode="gray">
          <a:xfrm>
            <a:off x="4847545" y="620713"/>
            <a:ext cx="5265176" cy="738664"/>
          </a:xfrm>
        </p:spPr>
        <p:txBody>
          <a:bodyPr vert="horz">
            <a:noAutofit/>
          </a:bodyPr>
          <a:lstStyle>
            <a:lvl1pPr rtl="0">
              <a:defRPr sz="4000"/>
            </a:lvl1pPr>
          </a:lstStyle>
          <a:p>
            <a:r>
              <a:rPr lang="de-DE" dirty="0"/>
              <a:t>Agenda</a:t>
            </a:r>
          </a:p>
        </p:txBody>
      </p:sp>
    </p:spTree>
    <p:extLst>
      <p:ext uri="{BB962C8B-B14F-4D97-AF65-F5344CB8AC3E}">
        <p14:creationId xmlns:p14="http://schemas.microsoft.com/office/powerpoint/2010/main" val="774607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25376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rafik 14">
            <a:extLst>
              <a:ext uri="{FF2B5EF4-FFF2-40B4-BE49-F238E27FC236}">
                <a16:creationId xmlns:a16="http://schemas.microsoft.com/office/drawing/2014/main" id="{35C77CC1-6553-2F77-FA11-F48F663A5C1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7007" t="1299" b="5822"/>
          <a:stretch/>
        </p:blipFill>
        <p:spPr bwMode="gray">
          <a:xfrm>
            <a:off x="-708" y="-1"/>
            <a:ext cx="4219708" cy="6858001"/>
          </a:xfrm>
          <a:prstGeom prst="rect">
            <a:avLst/>
          </a:prstGeom>
        </p:spPr>
      </p:pic>
      <p:sp>
        <p:nvSpPr>
          <p:cNvPr id="2" name="Titel 1">
            <a:extLst>
              <a:ext uri="{FF2B5EF4-FFF2-40B4-BE49-F238E27FC236}">
                <a16:creationId xmlns:a16="http://schemas.microsoft.com/office/drawing/2014/main" id="{B545046E-39AA-5646-D331-802F7889BAA8}"/>
              </a:ext>
            </a:extLst>
          </p:cNvPr>
          <p:cNvSpPr>
            <a:spLocks noGrp="1"/>
          </p:cNvSpPr>
          <p:nvPr>
            <p:ph type="title"/>
          </p:nvPr>
        </p:nvSpPr>
        <p:spPr bwMode="gray">
          <a:xfrm>
            <a:off x="5119688" y="1773238"/>
            <a:ext cx="5472112" cy="1661993"/>
          </a:xfrm>
        </p:spPr>
        <p:txBody>
          <a:bodyPr vert="horz" anchor="t"/>
          <a:lstStyle>
            <a:lvl1pPr rtl="0">
              <a:defRPr sz="5400"/>
            </a:lvl1pPr>
          </a:lstStyle>
          <a:p>
            <a:r>
              <a:rPr lang="de-DE" dirty="0"/>
              <a:t>Mastertitelformat bearbeiten</a:t>
            </a:r>
          </a:p>
        </p:txBody>
      </p:sp>
      <p:sp>
        <p:nvSpPr>
          <p:cNvPr id="16" name="Fußzeilenplatzhalter 15">
            <a:extLst>
              <a:ext uri="{FF2B5EF4-FFF2-40B4-BE49-F238E27FC236}">
                <a16:creationId xmlns:a16="http://schemas.microsoft.com/office/drawing/2014/main" id="{3419A0B0-F3AC-B763-1C65-32D50D705AEA}"/>
              </a:ext>
            </a:extLst>
          </p:cNvPr>
          <p:cNvSpPr>
            <a:spLocks noGrp="1"/>
          </p:cNvSpPr>
          <p:nvPr>
            <p:ph type="ftr" sz="quarter" idx="10"/>
          </p:nvPr>
        </p:nvSpPr>
        <p:spPr bwMode="gray"/>
        <p:txBody>
          <a:bodyPr/>
          <a:lstStyle>
            <a:lvl1pPr rtl="0">
              <a:defRPr>
                <a:solidFill>
                  <a:schemeClr val="bg1"/>
                </a:solidFill>
              </a:defRPr>
            </a:lvl1pPr>
          </a:lstStyle>
          <a:p>
            <a:r>
              <a:rPr lang="de-DE" dirty="0"/>
              <a:t>© msg digital | Titel einfügen | 2024</a:t>
            </a:r>
          </a:p>
        </p:txBody>
      </p:sp>
      <p:sp>
        <p:nvSpPr>
          <p:cNvPr id="17" name="Foliennummernplatzhalter 16">
            <a:extLst>
              <a:ext uri="{FF2B5EF4-FFF2-40B4-BE49-F238E27FC236}">
                <a16:creationId xmlns:a16="http://schemas.microsoft.com/office/drawing/2014/main" id="{A6F1F1F1-2488-33B4-7DCC-CA419BFDBA9E}"/>
              </a:ext>
            </a:extLst>
          </p:cNvPr>
          <p:cNvSpPr>
            <a:spLocks noGrp="1"/>
          </p:cNvSpPr>
          <p:nvPr>
            <p:ph type="sldNum" sz="quarter" idx="11"/>
          </p:nvPr>
        </p:nvSpPr>
        <p:spPr bwMode="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9" name="Textplatzhalter 18">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5119688" y="3668975"/>
            <a:ext cx="1600035" cy="318924"/>
          </a:xfrm>
          <a:solidFill>
            <a:schemeClr val="bg2"/>
          </a:solidFill>
        </p:spPr>
        <p:txBody>
          <a:bodyPr wrap="none" lIns="72000" tIns="36000" rIns="72000" bIns="36000">
            <a:spAutoFit/>
          </a:bodyPr>
          <a:lstStyle>
            <a:lvl1pPr rtl="0">
              <a:defRPr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4292837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5107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561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3103819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und Inhalt schwarz">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28963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invGray"/>
        <p:txBody>
          <a:bodyPr vert="horz"/>
          <a:lstStyle>
            <a:lvl1pPr rtl="0">
              <a:defRPr>
                <a:solidFill>
                  <a:schemeClr val="bg1"/>
                </a:solidFill>
              </a:defRPr>
            </a:lvl1pPr>
          </a:lstStyle>
          <a:p>
            <a:r>
              <a:rPr lang="de-DE" dirty="0"/>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invGray">
          <a:xfrm>
            <a:off x="623888" y="1773239"/>
            <a:ext cx="11233150" cy="4356100"/>
          </a:xfrm>
        </p:spPr>
        <p:txBody>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rtl="0">
              <a:buClr>
                <a:schemeClr val="bg1"/>
              </a:buClr>
              <a:defRPr>
                <a:solidFill>
                  <a:schemeClr val="bg1"/>
                </a:solidFill>
              </a:defRPr>
            </a:lvl6pPr>
            <a:lvl7pPr rtl="0">
              <a:buClr>
                <a:schemeClr val="bg1"/>
              </a:buClr>
              <a:defRPr>
                <a:solidFill>
                  <a:schemeClr val="bg1"/>
                </a:solidFill>
              </a:defRPr>
            </a:lvl7pPr>
            <a:lvl8pPr rtl="0">
              <a:buClr>
                <a:schemeClr val="bg1"/>
              </a:buClr>
              <a:defRPr>
                <a:solidFill>
                  <a:schemeClr val="bg1"/>
                </a:solidFill>
              </a:defRPr>
            </a:lvl8pPr>
            <a:lvl9pPr rtl="0">
              <a:buClr>
                <a:schemeClr val="bg1"/>
              </a:buClr>
              <a:defRPr>
                <a:solidFill>
                  <a:schemeClr val="bg1"/>
                </a:solidFill>
              </a:defRPr>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invGray"/>
        <p:txBody>
          <a:bodyPr/>
          <a:lstStyle>
            <a:lvl1pPr rtl="0">
              <a:defRPr>
                <a:solidFill>
                  <a:schemeClr val="bg1"/>
                </a:solidFill>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invGray"/>
        <p:txBody>
          <a:bodyPr/>
          <a:lstStyle>
            <a:lvl1pPr rtl="0">
              <a:defRPr>
                <a:solidFill>
                  <a:schemeClr val="bg1"/>
                </a:solidFill>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pic>
        <p:nvPicPr>
          <p:cNvPr id="5" name="Grafik 4">
            <a:extLst>
              <a:ext uri="{FF2B5EF4-FFF2-40B4-BE49-F238E27FC236}">
                <a16:creationId xmlns:a16="http://schemas.microsoft.com/office/drawing/2014/main" id="{15AC012A-5086-D081-58DF-B6E25EBA348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pic>
        <p:nvPicPr>
          <p:cNvPr id="6" name="Grafik 5">
            <a:extLst>
              <a:ext uri="{FF2B5EF4-FFF2-40B4-BE49-F238E27FC236}">
                <a16:creationId xmlns:a16="http://schemas.microsoft.com/office/drawing/2014/main" id="{C1DA9AC6-C3A4-395C-F03F-5C41B23158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invGray">
          <a:xfrm>
            <a:off x="10704521" y="296864"/>
            <a:ext cx="1152942" cy="360000"/>
          </a:xfrm>
          <a:prstGeom prst="rect">
            <a:avLst/>
          </a:prstGeom>
        </p:spPr>
      </p:pic>
      <p:grpSp>
        <p:nvGrpSpPr>
          <p:cNvPr id="13" name="Gruppieren 12">
            <a:extLst>
              <a:ext uri="{FF2B5EF4-FFF2-40B4-BE49-F238E27FC236}">
                <a16:creationId xmlns:a16="http://schemas.microsoft.com/office/drawing/2014/main" id="{7875D0B4-C524-8640-99F1-98074A293B93}"/>
              </a:ext>
            </a:extLst>
          </p:cNvPr>
          <p:cNvGrpSpPr>
            <a:grpSpLocks/>
          </p:cNvGrpSpPr>
          <p:nvPr userDrawn="1"/>
        </p:nvGrpSpPr>
        <p:grpSpPr>
          <a:xfrm>
            <a:off x="623888" y="-254000"/>
            <a:ext cx="11233150" cy="144000"/>
            <a:chOff x="623888" y="0"/>
            <a:chExt cx="11233150" cy="6858000"/>
          </a:xfrm>
        </p:grpSpPr>
        <p:cxnSp>
          <p:nvCxnSpPr>
            <p:cNvPr id="14" name="Gerader Verbinder 13">
              <a:extLst>
                <a:ext uri="{FF2B5EF4-FFF2-40B4-BE49-F238E27FC236}">
                  <a16:creationId xmlns:a16="http://schemas.microsoft.com/office/drawing/2014/main" id="{8B52F75E-9759-6677-7007-97E1815FEFD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5747D04-B701-04DF-A008-9B1C1F1BE4C0}"/>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6AE0607-9A0E-7BC2-39B3-5449A92CC671}"/>
              </a:ext>
            </a:extLst>
          </p:cNvPr>
          <p:cNvGrpSpPr/>
          <p:nvPr userDrawn="1"/>
        </p:nvGrpSpPr>
        <p:grpSpPr>
          <a:xfrm>
            <a:off x="-254000" y="296863"/>
            <a:ext cx="144000" cy="6300787"/>
            <a:chOff x="0" y="296863"/>
            <a:chExt cx="12192000" cy="6300787"/>
          </a:xfrm>
        </p:grpSpPr>
        <p:cxnSp>
          <p:nvCxnSpPr>
            <p:cNvPr id="17" name="Gerader Verbinder 16">
              <a:extLst>
                <a:ext uri="{FF2B5EF4-FFF2-40B4-BE49-F238E27FC236}">
                  <a16:creationId xmlns:a16="http://schemas.microsoft.com/office/drawing/2014/main" id="{8F4F2C96-83F6-5D0C-7161-46D0A5B1EB5F}"/>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A80E73B-9534-F367-DBA8-C94D4B3DE0A0}"/>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12D3D4C-56D1-94DB-02A9-444A83370186}"/>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3C94175E-2A2B-2421-5F74-4C1503F5FA1A}"/>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10E3C9B-D76D-1412-EFFB-EEFFFCBC3DAB}"/>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A928A98B-C78F-2D65-C59A-9457FA9B3C46}"/>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10C0379-EA06-2179-594B-566D04909B1F}"/>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73EFD279-6812-4ED5-AF59-0B9C166D5F5C}"/>
              </a:ext>
            </a:extLst>
          </p:cNvPr>
          <p:cNvGrpSpPr>
            <a:grpSpLocks/>
          </p:cNvGrpSpPr>
          <p:nvPr userDrawn="1"/>
        </p:nvGrpSpPr>
        <p:grpSpPr>
          <a:xfrm>
            <a:off x="623888" y="6972300"/>
            <a:ext cx="11233150" cy="144000"/>
            <a:chOff x="623888" y="0"/>
            <a:chExt cx="11233150" cy="6858000"/>
          </a:xfrm>
        </p:grpSpPr>
        <p:cxnSp>
          <p:nvCxnSpPr>
            <p:cNvPr id="25" name="Gerader Verbinder 24">
              <a:extLst>
                <a:ext uri="{FF2B5EF4-FFF2-40B4-BE49-F238E27FC236}">
                  <a16:creationId xmlns:a16="http://schemas.microsoft.com/office/drawing/2014/main" id="{FFEF23AD-00F3-95AA-E1C5-6F16AFFA1293}"/>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7465FB3-7C91-4E3A-9E92-5F426E812B03}"/>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ECF91AA9-147C-F515-5C49-E01B0EA7D5D9}"/>
              </a:ext>
            </a:extLst>
          </p:cNvPr>
          <p:cNvGrpSpPr/>
          <p:nvPr userDrawn="1"/>
        </p:nvGrpSpPr>
        <p:grpSpPr>
          <a:xfrm>
            <a:off x="12301940" y="296863"/>
            <a:ext cx="144000" cy="6300787"/>
            <a:chOff x="0" y="296863"/>
            <a:chExt cx="12192000" cy="6300787"/>
          </a:xfrm>
        </p:grpSpPr>
        <p:cxnSp>
          <p:nvCxnSpPr>
            <p:cNvPr id="28" name="Gerader Verbinder 27">
              <a:extLst>
                <a:ext uri="{FF2B5EF4-FFF2-40B4-BE49-F238E27FC236}">
                  <a16:creationId xmlns:a16="http://schemas.microsoft.com/office/drawing/2014/main" id="{5BC3F208-4EF9-87FC-8ADD-FAEC50909C68}"/>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D1A9674E-D53E-60B4-857C-FE8907508805}"/>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22F230FC-7842-2704-B40D-4A27A754320E}"/>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951E84C-D77A-D61F-4B43-64D011D3BE2B}"/>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37C5CFE-614A-A2D5-7D1A-77083867C67D}"/>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8E92EF5D-529E-6F34-FECF-D53A868AE128}"/>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6E8B8F4-0754-B7AC-2AB6-9A4D3727E22A}"/>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5292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4349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p:txBody>
          <a:bodyPr vert="horz"/>
          <a:lstStyle>
            <a:lvl1pPr rtl="0">
              <a:defRPr/>
            </a:lvl1pPr>
          </a:lstStyle>
          <a:p>
            <a:r>
              <a:rPr lang="de-DE" dirty="0"/>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dirty="0"/>
              <a:t>© msg digital | Titel einfügen | 2024</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1150490" cy="241980"/>
          </a:xfrm>
          <a:solidFill>
            <a:schemeClr val="bg2"/>
          </a:solidFill>
        </p:spPr>
        <p:txBody>
          <a:bodyPr wrap="none" lIns="72000" tIns="36000" rIns="72000" bIns="36000" anchor="ctr">
            <a:spAutoFit/>
          </a:bodyPr>
          <a:lstStyle>
            <a:lvl1pPr rtl="0">
              <a:defRPr sz="1100" b="1">
                <a:solidFill>
                  <a:schemeClr val="bg1"/>
                </a:solidFill>
              </a:defRPr>
            </a:lvl1pPr>
          </a:lstStyle>
          <a:p>
            <a:pPr lvl="0"/>
            <a:r>
              <a:rPr lang="de-DE" dirty="0" err="1"/>
              <a:t>Subtitle</a:t>
            </a:r>
            <a:r>
              <a:rPr lang="de-DE" dirty="0"/>
              <a:t> einfügen</a:t>
            </a:r>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5.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8"/>
            </p:custDataLst>
            <p:extLst>
              <p:ext uri="{D42A27DB-BD31-4B8C-83A1-F6EECF244321}">
                <p14:modId xmlns:p14="http://schemas.microsoft.com/office/powerpoint/2010/main" val="99313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06" imgH="306" progId="TCLayout.ActiveDocument.1">
                  <p:embed/>
                </p:oleObj>
              </mc:Choice>
              <mc:Fallback>
                <p:oleObj name="think-cell Folie" r:id="rId29"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561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Lst>
          </p:cNvPr>
          <p:cNvSpPr>
            <a:spLocks noGrp="1"/>
          </p:cNvSpPr>
          <p:nvPr>
            <p:ph type="ftr" sz="quarter" idx="3"/>
          </p:nvPr>
        </p:nvSpPr>
        <p:spPr bwMode="gray">
          <a:xfrm>
            <a:off x="1171574" y="6443762"/>
            <a:ext cx="4924425" cy="153888"/>
          </a:xfrm>
          <a:prstGeom prst="rect">
            <a:avLst/>
          </a:prstGeom>
        </p:spPr>
        <p:txBody>
          <a:bodyPr vert="horz" lIns="0" tIns="0" rIns="0" bIns="0" rtlCol="0" anchor="ctr">
            <a:noAutofit/>
          </a:bodyPr>
          <a:lstStyle>
            <a:lvl1pPr algn="l" rtl="0">
              <a:defRPr sz="1000">
                <a:solidFill>
                  <a:schemeClr val="tx1"/>
                </a:solidFill>
              </a:defRPr>
            </a:lvl1pPr>
          </a:lstStyle>
          <a:p>
            <a:r>
              <a:rPr lang="de-DE" dirty="0"/>
              <a:t>© msg digital | Titel einfügen | 2024</a:t>
            </a:r>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623888" y="6443762"/>
            <a:ext cx="404812" cy="153888"/>
          </a:xfrm>
          <a:prstGeom prst="rect">
            <a:avLst/>
          </a:prstGeom>
        </p:spPr>
        <p:txBody>
          <a:bodyPr vert="horz" lIns="0" tIns="0" rIns="0" bIns="0" rtlCol="0" anchor="ctr">
            <a:noAutofit/>
          </a:bodyPr>
          <a:lstStyle>
            <a:lvl1pPr algn="l" rtl="0">
              <a:defRPr sz="1000">
                <a:solidFill>
                  <a:schemeClr val="tx1"/>
                </a:solidFill>
              </a:defRPr>
            </a:lvl1pPr>
          </a:lstStyle>
          <a:p>
            <a:fld id="{1FBD72F1-A42A-46B0-A7F8-CE6A9835826C}" type="slidenum">
              <a:rPr lang="de-DE" smtClean="0"/>
              <a:pPr/>
              <a:t>‹Nr.›</a:t>
            </a:fld>
            <a:endParaRPr lang="de-DE" dirty="0"/>
          </a:p>
        </p:txBody>
      </p:sp>
      <p:pic>
        <p:nvPicPr>
          <p:cNvPr id="7" name="Grafik 6">
            <a:extLst>
              <a:ext uri="{FF2B5EF4-FFF2-40B4-BE49-F238E27FC236}">
                <a16:creationId xmlns:a16="http://schemas.microsoft.com/office/drawing/2014/main" id="{20F3C2B8-3BB8-5B4C-EC0F-47FB0C2A21FD}"/>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bwMode="gray">
          <a:xfrm>
            <a:off x="10957038" y="6352424"/>
            <a:ext cx="900000" cy="324000"/>
          </a:xfrm>
          <a:prstGeom prst="rect">
            <a:avLst/>
          </a:prstGeom>
        </p:spPr>
      </p:pic>
      <p:pic>
        <p:nvPicPr>
          <p:cNvPr id="24" name="Grafik 23">
            <a:extLst>
              <a:ext uri="{FF2B5EF4-FFF2-40B4-BE49-F238E27FC236}">
                <a16:creationId xmlns:a16="http://schemas.microsoft.com/office/drawing/2014/main" id="{E593CF5D-66D3-4942-D679-8C05C8B4D194}"/>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Lst>
          </p:cNvPr>
          <p:cNvGrpSpPr>
            <a:grpSpLocks/>
          </p:cNvGrpSpPr>
          <p:nvPr userDrawn="1"/>
        </p:nvGrpSpPr>
        <p:grpSpPr>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Lst>
          </p:cNvPr>
          <p:cNvGrpSpPr/>
          <p:nvPr userDrawn="1"/>
        </p:nvGrpSpPr>
        <p:grpSpPr>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Lst>
          </p:cNvPr>
          <p:cNvGrpSpPr>
            <a:grpSpLocks/>
          </p:cNvGrpSpPr>
          <p:nvPr userDrawn="1"/>
        </p:nvGrpSpPr>
        <p:grpSpPr>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Lst>
          </p:cNvPr>
          <p:cNvGrpSpPr/>
          <p:nvPr userDrawn="1"/>
        </p:nvGrpSpPr>
        <p:grpSpPr>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a:xfrm flipH="1">
              <a:off x="0" y="6129338"/>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74" r:id="rId3"/>
    <p:sldLayoutId id="2147483672" r:id="rId4"/>
    <p:sldLayoutId id="2147483676" r:id="rId5"/>
    <p:sldLayoutId id="2147483651" r:id="rId6"/>
    <p:sldLayoutId id="2147483650" r:id="rId7"/>
    <p:sldLayoutId id="2147483677" r:id="rId8"/>
    <p:sldLayoutId id="2147483683" r:id="rId9"/>
    <p:sldLayoutId id="2147483684" r:id="rId10"/>
    <p:sldLayoutId id="2147483661" r:id="rId11"/>
    <p:sldLayoutId id="2147483678" r:id="rId12"/>
    <p:sldLayoutId id="2147483664" r:id="rId13"/>
    <p:sldLayoutId id="2147483679" r:id="rId14"/>
    <p:sldLayoutId id="2147483662" r:id="rId15"/>
    <p:sldLayoutId id="2147483680" r:id="rId16"/>
    <p:sldLayoutId id="2147483663" r:id="rId17"/>
    <p:sldLayoutId id="2147483681" r:id="rId18"/>
    <p:sldLayoutId id="2147483665" r:id="rId19"/>
    <p:sldLayoutId id="2147483682" r:id="rId20"/>
    <p:sldLayoutId id="2147483666" r:id="rId21"/>
    <p:sldLayoutId id="2147483667" r:id="rId22"/>
    <p:sldLayoutId id="2147483668" r:id="rId23"/>
    <p:sldLayoutId id="2147483669" r:id="rId24"/>
    <p:sldLayoutId id="2147483670" r:id="rId25"/>
    <p:sldLayoutId id="2147483671" r:id="rId26"/>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61"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4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4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4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8.xml"/><Relationship Id="rId1" Type="http://schemas.openxmlformats.org/officeDocument/2006/relationships/tags" Target="../tags/tag5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51.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ags" Target="../tags/tag52.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6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62.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3.xml"/><Relationship Id="rId1" Type="http://schemas.openxmlformats.org/officeDocument/2006/relationships/tags" Target="../tags/tag64.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1.xml"/><Relationship Id="rId1" Type="http://schemas.openxmlformats.org/officeDocument/2006/relationships/tags" Target="../tags/tag65.xml"/><Relationship Id="rId5" Type="http://schemas.openxmlformats.org/officeDocument/2006/relationships/image" Target="../media/image24.jpe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0.xml"/><Relationship Id="rId1" Type="http://schemas.openxmlformats.org/officeDocument/2006/relationships/tags" Target="../tags/tag66.xml"/><Relationship Id="rId5" Type="http://schemas.openxmlformats.org/officeDocument/2006/relationships/image" Target="../media/image2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oleObject" Target="../embeddings/oleObject66.bin"/><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10.xml"/><Relationship Id="rId16" Type="http://schemas.openxmlformats.org/officeDocument/2006/relationships/image" Target="../media/image37.svg"/><Relationship Id="rId1" Type="http://schemas.openxmlformats.org/officeDocument/2006/relationships/tags" Target="../tags/tag67.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1.emf"/><Relationship Id="rId9" Type="http://schemas.openxmlformats.org/officeDocument/2006/relationships/image" Target="../media/image30.png"/><Relationship Id="rId14" Type="http://schemas.openxmlformats.org/officeDocument/2006/relationships/image" Target="../media/image35.svg"/></Relationships>
</file>

<file path=ppt/slides/_rels/slide41.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oleObject" Target="../embeddings/oleObject67.bin"/><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slideLayout" Target="../slideLayouts/slideLayout10.xml"/><Relationship Id="rId16" Type="http://schemas.openxmlformats.org/officeDocument/2006/relationships/image" Target="../media/image49.svg"/><Relationship Id="rId1" Type="http://schemas.openxmlformats.org/officeDocument/2006/relationships/tags" Target="../tags/tag68.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svg"/><Relationship Id="rId4" Type="http://schemas.openxmlformats.org/officeDocument/2006/relationships/image" Target="../media/image1.emf"/><Relationship Id="rId9" Type="http://schemas.openxmlformats.org/officeDocument/2006/relationships/image" Target="../media/image42.png"/><Relationship Id="rId14" Type="http://schemas.openxmlformats.org/officeDocument/2006/relationships/image" Target="../media/image47.sv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0.xml"/><Relationship Id="rId1" Type="http://schemas.openxmlformats.org/officeDocument/2006/relationships/tags" Target="../tags/tag6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oleObject" Target="../embeddings/oleObject69.bin"/><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slideLayout" Target="../slideLayouts/slideLayout9.xml"/><Relationship Id="rId1" Type="http://schemas.openxmlformats.org/officeDocument/2006/relationships/tags" Target="../tags/tag70.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1.emf"/><Relationship Id="rId9" Type="http://schemas.openxmlformats.org/officeDocument/2006/relationships/image" Target="../media/image54.png"/></Relationships>
</file>

<file path=ppt/slides/_rels/slide44.xml.rels><?xml version="1.0" encoding="UTF-8" standalone="yes"?>
<Relationships xmlns="http://schemas.openxmlformats.org/package/2006/relationships"><Relationship Id="rId26" Type="http://schemas.openxmlformats.org/officeDocument/2006/relationships/image" Target="../media/image79.svg"/><Relationship Id="rId21" Type="http://schemas.openxmlformats.org/officeDocument/2006/relationships/image" Target="../media/image74.png"/><Relationship Id="rId34" Type="http://schemas.openxmlformats.org/officeDocument/2006/relationships/image" Target="../media/image87.svg"/><Relationship Id="rId42" Type="http://schemas.openxmlformats.org/officeDocument/2006/relationships/image" Target="../media/image95.svg"/><Relationship Id="rId47" Type="http://schemas.openxmlformats.org/officeDocument/2006/relationships/image" Target="../media/image100.png"/><Relationship Id="rId50" Type="http://schemas.openxmlformats.org/officeDocument/2006/relationships/image" Target="../media/image103.svg"/><Relationship Id="rId55" Type="http://schemas.openxmlformats.org/officeDocument/2006/relationships/image" Target="../media/image108.png"/><Relationship Id="rId63" Type="http://schemas.openxmlformats.org/officeDocument/2006/relationships/image" Target="../media/image116.png"/><Relationship Id="rId68" Type="http://schemas.openxmlformats.org/officeDocument/2006/relationships/image" Target="../media/image121.svg"/><Relationship Id="rId7" Type="http://schemas.openxmlformats.org/officeDocument/2006/relationships/image" Target="../media/image60.png"/><Relationship Id="rId2" Type="http://schemas.openxmlformats.org/officeDocument/2006/relationships/slideLayout" Target="../slideLayouts/slideLayout9.xml"/><Relationship Id="rId16" Type="http://schemas.openxmlformats.org/officeDocument/2006/relationships/image" Target="../media/image69.svg"/><Relationship Id="rId29" Type="http://schemas.openxmlformats.org/officeDocument/2006/relationships/image" Target="../media/image82.png"/><Relationship Id="rId11" Type="http://schemas.openxmlformats.org/officeDocument/2006/relationships/image" Target="../media/image64.png"/><Relationship Id="rId24" Type="http://schemas.openxmlformats.org/officeDocument/2006/relationships/image" Target="../media/image77.svg"/><Relationship Id="rId32" Type="http://schemas.openxmlformats.org/officeDocument/2006/relationships/image" Target="../media/image85.svg"/><Relationship Id="rId37" Type="http://schemas.openxmlformats.org/officeDocument/2006/relationships/image" Target="../media/image90.png"/><Relationship Id="rId40" Type="http://schemas.openxmlformats.org/officeDocument/2006/relationships/image" Target="../media/image93.svg"/><Relationship Id="rId45" Type="http://schemas.openxmlformats.org/officeDocument/2006/relationships/image" Target="../media/image98.png"/><Relationship Id="rId53" Type="http://schemas.openxmlformats.org/officeDocument/2006/relationships/image" Target="../media/image106.png"/><Relationship Id="rId58" Type="http://schemas.openxmlformats.org/officeDocument/2006/relationships/image" Target="../media/image111.svg"/><Relationship Id="rId66" Type="http://schemas.openxmlformats.org/officeDocument/2006/relationships/image" Target="../media/image119.svg"/><Relationship Id="rId5" Type="http://schemas.openxmlformats.org/officeDocument/2006/relationships/image" Target="../media/image58.png"/><Relationship Id="rId61" Type="http://schemas.openxmlformats.org/officeDocument/2006/relationships/image" Target="../media/image114.png"/><Relationship Id="rId19" Type="http://schemas.openxmlformats.org/officeDocument/2006/relationships/image" Target="../media/image72.png"/><Relationship Id="rId14" Type="http://schemas.openxmlformats.org/officeDocument/2006/relationships/image" Target="../media/image67.svg"/><Relationship Id="rId22" Type="http://schemas.openxmlformats.org/officeDocument/2006/relationships/image" Target="../media/image75.svg"/><Relationship Id="rId27" Type="http://schemas.openxmlformats.org/officeDocument/2006/relationships/image" Target="../media/image80.png"/><Relationship Id="rId30" Type="http://schemas.openxmlformats.org/officeDocument/2006/relationships/image" Target="../media/image83.svg"/><Relationship Id="rId35" Type="http://schemas.openxmlformats.org/officeDocument/2006/relationships/image" Target="../media/image88.png"/><Relationship Id="rId43" Type="http://schemas.openxmlformats.org/officeDocument/2006/relationships/image" Target="../media/image96.png"/><Relationship Id="rId48" Type="http://schemas.openxmlformats.org/officeDocument/2006/relationships/image" Target="../media/image101.svg"/><Relationship Id="rId56" Type="http://schemas.openxmlformats.org/officeDocument/2006/relationships/image" Target="../media/image109.svg"/><Relationship Id="rId64" Type="http://schemas.openxmlformats.org/officeDocument/2006/relationships/image" Target="../media/image117.svg"/><Relationship Id="rId8" Type="http://schemas.openxmlformats.org/officeDocument/2006/relationships/image" Target="../media/image61.svg"/><Relationship Id="rId51" Type="http://schemas.openxmlformats.org/officeDocument/2006/relationships/image" Target="../media/image104.png"/><Relationship Id="rId3" Type="http://schemas.openxmlformats.org/officeDocument/2006/relationships/oleObject" Target="../embeddings/oleObject70.bin"/><Relationship Id="rId12" Type="http://schemas.openxmlformats.org/officeDocument/2006/relationships/image" Target="../media/image65.sv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image" Target="../media/image91.svg"/><Relationship Id="rId46" Type="http://schemas.openxmlformats.org/officeDocument/2006/relationships/image" Target="../media/image99.sv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image" Target="../media/image73.svg"/><Relationship Id="rId41" Type="http://schemas.openxmlformats.org/officeDocument/2006/relationships/image" Target="../media/image94.png"/><Relationship Id="rId54" Type="http://schemas.openxmlformats.org/officeDocument/2006/relationships/image" Target="../media/image107.svg"/><Relationship Id="rId62" Type="http://schemas.openxmlformats.org/officeDocument/2006/relationships/image" Target="../media/image115.svg"/><Relationship Id="rId1" Type="http://schemas.openxmlformats.org/officeDocument/2006/relationships/tags" Target="../tags/tag71.xml"/><Relationship Id="rId6" Type="http://schemas.openxmlformats.org/officeDocument/2006/relationships/image" Target="../media/image59.sv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svg"/><Relationship Id="rId36" Type="http://schemas.openxmlformats.org/officeDocument/2006/relationships/image" Target="../media/image89.svg"/><Relationship Id="rId49" Type="http://schemas.openxmlformats.org/officeDocument/2006/relationships/image" Target="../media/image102.png"/><Relationship Id="rId57" Type="http://schemas.openxmlformats.org/officeDocument/2006/relationships/image" Target="../media/image110.png"/><Relationship Id="rId10" Type="http://schemas.openxmlformats.org/officeDocument/2006/relationships/image" Target="../media/image63.svg"/><Relationship Id="rId31" Type="http://schemas.openxmlformats.org/officeDocument/2006/relationships/image" Target="../media/image84.png"/><Relationship Id="rId44" Type="http://schemas.openxmlformats.org/officeDocument/2006/relationships/image" Target="../media/image97.svg"/><Relationship Id="rId52" Type="http://schemas.openxmlformats.org/officeDocument/2006/relationships/image" Target="../media/image105.svg"/><Relationship Id="rId60" Type="http://schemas.openxmlformats.org/officeDocument/2006/relationships/image" Target="../media/image113.svg"/><Relationship Id="rId65" Type="http://schemas.openxmlformats.org/officeDocument/2006/relationships/image" Target="../media/image118.png"/><Relationship Id="rId4" Type="http://schemas.openxmlformats.org/officeDocument/2006/relationships/image" Target="../media/image1.emf"/><Relationship Id="rId9" Type="http://schemas.openxmlformats.org/officeDocument/2006/relationships/image" Target="../media/image62.png"/><Relationship Id="rId13" Type="http://schemas.openxmlformats.org/officeDocument/2006/relationships/image" Target="../media/image66.png"/><Relationship Id="rId18" Type="http://schemas.openxmlformats.org/officeDocument/2006/relationships/image" Target="../media/image71.svg"/><Relationship Id="rId39" Type="http://schemas.openxmlformats.org/officeDocument/2006/relationships/image" Target="../media/image92.png"/></Relationships>
</file>

<file path=ppt/slides/_rels/slide45.xml.rels><?xml version="1.0" encoding="UTF-8" standalone="yes"?>
<Relationships xmlns="http://schemas.openxmlformats.org/package/2006/relationships"><Relationship Id="rId26" Type="http://schemas.openxmlformats.org/officeDocument/2006/relationships/image" Target="../media/image143.svg"/><Relationship Id="rId21" Type="http://schemas.openxmlformats.org/officeDocument/2006/relationships/image" Target="../media/image138.png"/><Relationship Id="rId34" Type="http://schemas.openxmlformats.org/officeDocument/2006/relationships/image" Target="../media/image151.svg"/><Relationship Id="rId42" Type="http://schemas.openxmlformats.org/officeDocument/2006/relationships/image" Target="../media/image159.svg"/><Relationship Id="rId47" Type="http://schemas.openxmlformats.org/officeDocument/2006/relationships/image" Target="../media/image164.png"/><Relationship Id="rId50" Type="http://schemas.openxmlformats.org/officeDocument/2006/relationships/image" Target="../media/image167.svg"/><Relationship Id="rId55" Type="http://schemas.openxmlformats.org/officeDocument/2006/relationships/image" Target="../media/image172.png"/><Relationship Id="rId63" Type="http://schemas.openxmlformats.org/officeDocument/2006/relationships/image" Target="../media/image180.png"/><Relationship Id="rId68" Type="http://schemas.openxmlformats.org/officeDocument/2006/relationships/image" Target="../media/image185.svg"/><Relationship Id="rId7" Type="http://schemas.openxmlformats.org/officeDocument/2006/relationships/image" Target="../media/image124.png"/><Relationship Id="rId2" Type="http://schemas.openxmlformats.org/officeDocument/2006/relationships/slideLayout" Target="../slideLayouts/slideLayout9.xml"/><Relationship Id="rId16" Type="http://schemas.openxmlformats.org/officeDocument/2006/relationships/image" Target="../media/image133.svg"/><Relationship Id="rId29" Type="http://schemas.openxmlformats.org/officeDocument/2006/relationships/image" Target="../media/image146.png"/><Relationship Id="rId11" Type="http://schemas.openxmlformats.org/officeDocument/2006/relationships/image" Target="../media/image128.png"/><Relationship Id="rId24" Type="http://schemas.openxmlformats.org/officeDocument/2006/relationships/image" Target="../media/image141.svg"/><Relationship Id="rId32" Type="http://schemas.openxmlformats.org/officeDocument/2006/relationships/image" Target="../media/image149.svg"/><Relationship Id="rId37" Type="http://schemas.openxmlformats.org/officeDocument/2006/relationships/image" Target="../media/image154.png"/><Relationship Id="rId40" Type="http://schemas.openxmlformats.org/officeDocument/2006/relationships/image" Target="../media/image157.svg"/><Relationship Id="rId45" Type="http://schemas.openxmlformats.org/officeDocument/2006/relationships/image" Target="../media/image162.png"/><Relationship Id="rId53" Type="http://schemas.openxmlformats.org/officeDocument/2006/relationships/image" Target="../media/image170.png"/><Relationship Id="rId58" Type="http://schemas.openxmlformats.org/officeDocument/2006/relationships/image" Target="../media/image175.svg"/><Relationship Id="rId66" Type="http://schemas.openxmlformats.org/officeDocument/2006/relationships/image" Target="../media/image183.svg"/><Relationship Id="rId5" Type="http://schemas.openxmlformats.org/officeDocument/2006/relationships/image" Target="../media/image122.png"/><Relationship Id="rId61" Type="http://schemas.openxmlformats.org/officeDocument/2006/relationships/image" Target="../media/image178.png"/><Relationship Id="rId19" Type="http://schemas.openxmlformats.org/officeDocument/2006/relationships/image" Target="../media/image136.png"/><Relationship Id="rId14" Type="http://schemas.openxmlformats.org/officeDocument/2006/relationships/image" Target="../media/image131.svg"/><Relationship Id="rId22" Type="http://schemas.openxmlformats.org/officeDocument/2006/relationships/image" Target="../media/image139.svg"/><Relationship Id="rId27" Type="http://schemas.openxmlformats.org/officeDocument/2006/relationships/image" Target="../media/image144.png"/><Relationship Id="rId30" Type="http://schemas.openxmlformats.org/officeDocument/2006/relationships/image" Target="../media/image147.svg"/><Relationship Id="rId35" Type="http://schemas.openxmlformats.org/officeDocument/2006/relationships/image" Target="../media/image152.png"/><Relationship Id="rId43" Type="http://schemas.openxmlformats.org/officeDocument/2006/relationships/image" Target="../media/image160.png"/><Relationship Id="rId48" Type="http://schemas.openxmlformats.org/officeDocument/2006/relationships/image" Target="../media/image165.svg"/><Relationship Id="rId56" Type="http://schemas.openxmlformats.org/officeDocument/2006/relationships/image" Target="../media/image173.svg"/><Relationship Id="rId64" Type="http://schemas.openxmlformats.org/officeDocument/2006/relationships/image" Target="../media/image181.svg"/><Relationship Id="rId8" Type="http://schemas.openxmlformats.org/officeDocument/2006/relationships/image" Target="../media/image125.svg"/><Relationship Id="rId51" Type="http://schemas.openxmlformats.org/officeDocument/2006/relationships/image" Target="../media/image168.png"/><Relationship Id="rId3" Type="http://schemas.openxmlformats.org/officeDocument/2006/relationships/oleObject" Target="../embeddings/oleObject71.bin"/><Relationship Id="rId12" Type="http://schemas.openxmlformats.org/officeDocument/2006/relationships/image" Target="../media/image129.svg"/><Relationship Id="rId17" Type="http://schemas.openxmlformats.org/officeDocument/2006/relationships/image" Target="../media/image134.png"/><Relationship Id="rId25" Type="http://schemas.openxmlformats.org/officeDocument/2006/relationships/image" Target="../media/image142.png"/><Relationship Id="rId33" Type="http://schemas.openxmlformats.org/officeDocument/2006/relationships/image" Target="../media/image150.png"/><Relationship Id="rId38" Type="http://schemas.openxmlformats.org/officeDocument/2006/relationships/image" Target="../media/image155.svg"/><Relationship Id="rId46" Type="http://schemas.openxmlformats.org/officeDocument/2006/relationships/image" Target="../media/image163.svg"/><Relationship Id="rId59" Type="http://schemas.openxmlformats.org/officeDocument/2006/relationships/image" Target="../media/image176.png"/><Relationship Id="rId67" Type="http://schemas.openxmlformats.org/officeDocument/2006/relationships/image" Target="../media/image184.png"/><Relationship Id="rId20" Type="http://schemas.openxmlformats.org/officeDocument/2006/relationships/image" Target="../media/image137.svg"/><Relationship Id="rId41" Type="http://schemas.openxmlformats.org/officeDocument/2006/relationships/image" Target="../media/image158.png"/><Relationship Id="rId54" Type="http://schemas.openxmlformats.org/officeDocument/2006/relationships/image" Target="../media/image171.svg"/><Relationship Id="rId62" Type="http://schemas.openxmlformats.org/officeDocument/2006/relationships/image" Target="../media/image179.svg"/><Relationship Id="rId1" Type="http://schemas.openxmlformats.org/officeDocument/2006/relationships/tags" Target="../tags/tag72.xml"/><Relationship Id="rId6" Type="http://schemas.openxmlformats.org/officeDocument/2006/relationships/image" Target="../media/image123.svg"/><Relationship Id="rId15" Type="http://schemas.openxmlformats.org/officeDocument/2006/relationships/image" Target="../media/image132.png"/><Relationship Id="rId23" Type="http://schemas.openxmlformats.org/officeDocument/2006/relationships/image" Target="../media/image140.png"/><Relationship Id="rId28" Type="http://schemas.openxmlformats.org/officeDocument/2006/relationships/image" Target="../media/image145.svg"/><Relationship Id="rId36" Type="http://schemas.openxmlformats.org/officeDocument/2006/relationships/image" Target="../media/image153.svg"/><Relationship Id="rId49" Type="http://schemas.openxmlformats.org/officeDocument/2006/relationships/image" Target="../media/image166.png"/><Relationship Id="rId57" Type="http://schemas.openxmlformats.org/officeDocument/2006/relationships/image" Target="../media/image174.png"/><Relationship Id="rId10" Type="http://schemas.openxmlformats.org/officeDocument/2006/relationships/image" Target="../media/image127.svg"/><Relationship Id="rId31" Type="http://schemas.openxmlformats.org/officeDocument/2006/relationships/image" Target="../media/image148.png"/><Relationship Id="rId44" Type="http://schemas.openxmlformats.org/officeDocument/2006/relationships/image" Target="../media/image161.svg"/><Relationship Id="rId52" Type="http://schemas.openxmlformats.org/officeDocument/2006/relationships/image" Target="../media/image169.svg"/><Relationship Id="rId60" Type="http://schemas.openxmlformats.org/officeDocument/2006/relationships/image" Target="../media/image177.svg"/><Relationship Id="rId65" Type="http://schemas.openxmlformats.org/officeDocument/2006/relationships/image" Target="../media/image182.png"/><Relationship Id="rId4" Type="http://schemas.openxmlformats.org/officeDocument/2006/relationships/image" Target="../media/image1.emf"/><Relationship Id="rId9" Type="http://schemas.openxmlformats.org/officeDocument/2006/relationships/image" Target="../media/image126.png"/><Relationship Id="rId13" Type="http://schemas.openxmlformats.org/officeDocument/2006/relationships/image" Target="../media/image130.png"/><Relationship Id="rId18" Type="http://schemas.openxmlformats.org/officeDocument/2006/relationships/image" Target="../media/image135.svg"/><Relationship Id="rId39" Type="http://schemas.openxmlformats.org/officeDocument/2006/relationships/image" Target="../media/image156.png"/></Relationships>
</file>

<file path=ppt/slides/_rels/slide46.xml.rels><?xml version="1.0" encoding="UTF-8" standalone="yes"?>
<Relationships xmlns="http://schemas.openxmlformats.org/package/2006/relationships"><Relationship Id="rId26" Type="http://schemas.openxmlformats.org/officeDocument/2006/relationships/image" Target="../media/image207.svg"/><Relationship Id="rId21" Type="http://schemas.openxmlformats.org/officeDocument/2006/relationships/image" Target="../media/image202.png"/><Relationship Id="rId34" Type="http://schemas.openxmlformats.org/officeDocument/2006/relationships/image" Target="../media/image215.svg"/><Relationship Id="rId42" Type="http://schemas.openxmlformats.org/officeDocument/2006/relationships/image" Target="../media/image223.svg"/><Relationship Id="rId47" Type="http://schemas.openxmlformats.org/officeDocument/2006/relationships/image" Target="../media/image228.png"/><Relationship Id="rId50" Type="http://schemas.openxmlformats.org/officeDocument/2006/relationships/image" Target="../media/image231.svg"/><Relationship Id="rId55" Type="http://schemas.openxmlformats.org/officeDocument/2006/relationships/image" Target="../media/image236.png"/><Relationship Id="rId63" Type="http://schemas.openxmlformats.org/officeDocument/2006/relationships/image" Target="../media/image244.png"/><Relationship Id="rId68" Type="http://schemas.openxmlformats.org/officeDocument/2006/relationships/image" Target="../media/image249.svg"/><Relationship Id="rId7" Type="http://schemas.openxmlformats.org/officeDocument/2006/relationships/image" Target="../media/image188.png"/><Relationship Id="rId2" Type="http://schemas.openxmlformats.org/officeDocument/2006/relationships/slideLayout" Target="../slideLayouts/slideLayout9.xml"/><Relationship Id="rId16" Type="http://schemas.openxmlformats.org/officeDocument/2006/relationships/image" Target="../media/image197.svg"/><Relationship Id="rId29" Type="http://schemas.openxmlformats.org/officeDocument/2006/relationships/image" Target="../media/image210.png"/><Relationship Id="rId11" Type="http://schemas.openxmlformats.org/officeDocument/2006/relationships/image" Target="../media/image192.png"/><Relationship Id="rId24" Type="http://schemas.openxmlformats.org/officeDocument/2006/relationships/image" Target="../media/image205.svg"/><Relationship Id="rId32" Type="http://schemas.openxmlformats.org/officeDocument/2006/relationships/image" Target="../media/image213.svg"/><Relationship Id="rId37" Type="http://schemas.openxmlformats.org/officeDocument/2006/relationships/image" Target="../media/image218.png"/><Relationship Id="rId40" Type="http://schemas.openxmlformats.org/officeDocument/2006/relationships/image" Target="../media/image221.svg"/><Relationship Id="rId45" Type="http://schemas.openxmlformats.org/officeDocument/2006/relationships/image" Target="../media/image226.png"/><Relationship Id="rId53" Type="http://schemas.openxmlformats.org/officeDocument/2006/relationships/image" Target="../media/image234.png"/><Relationship Id="rId58" Type="http://schemas.openxmlformats.org/officeDocument/2006/relationships/image" Target="../media/image239.svg"/><Relationship Id="rId66" Type="http://schemas.openxmlformats.org/officeDocument/2006/relationships/image" Target="../media/image247.svg"/><Relationship Id="rId5" Type="http://schemas.openxmlformats.org/officeDocument/2006/relationships/image" Target="../media/image186.png"/><Relationship Id="rId61" Type="http://schemas.openxmlformats.org/officeDocument/2006/relationships/image" Target="../media/image242.png"/><Relationship Id="rId19" Type="http://schemas.openxmlformats.org/officeDocument/2006/relationships/image" Target="../media/image200.png"/><Relationship Id="rId14" Type="http://schemas.openxmlformats.org/officeDocument/2006/relationships/image" Target="../media/image195.svg"/><Relationship Id="rId22" Type="http://schemas.openxmlformats.org/officeDocument/2006/relationships/image" Target="../media/image203.svg"/><Relationship Id="rId27" Type="http://schemas.openxmlformats.org/officeDocument/2006/relationships/image" Target="../media/image208.png"/><Relationship Id="rId30" Type="http://schemas.openxmlformats.org/officeDocument/2006/relationships/image" Target="../media/image211.svg"/><Relationship Id="rId35" Type="http://schemas.openxmlformats.org/officeDocument/2006/relationships/image" Target="../media/image216.png"/><Relationship Id="rId43" Type="http://schemas.openxmlformats.org/officeDocument/2006/relationships/image" Target="../media/image224.png"/><Relationship Id="rId48" Type="http://schemas.openxmlformats.org/officeDocument/2006/relationships/image" Target="../media/image229.svg"/><Relationship Id="rId56" Type="http://schemas.openxmlformats.org/officeDocument/2006/relationships/image" Target="../media/image237.svg"/><Relationship Id="rId64" Type="http://schemas.openxmlformats.org/officeDocument/2006/relationships/image" Target="../media/image245.svg"/><Relationship Id="rId8" Type="http://schemas.openxmlformats.org/officeDocument/2006/relationships/image" Target="../media/image189.svg"/><Relationship Id="rId51" Type="http://schemas.openxmlformats.org/officeDocument/2006/relationships/image" Target="../media/image232.png"/><Relationship Id="rId3" Type="http://schemas.openxmlformats.org/officeDocument/2006/relationships/oleObject" Target="../embeddings/oleObject72.bin"/><Relationship Id="rId12" Type="http://schemas.openxmlformats.org/officeDocument/2006/relationships/image" Target="../media/image193.svg"/><Relationship Id="rId17" Type="http://schemas.openxmlformats.org/officeDocument/2006/relationships/image" Target="../media/image198.png"/><Relationship Id="rId25"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image" Target="../media/image219.svg"/><Relationship Id="rId46" Type="http://schemas.openxmlformats.org/officeDocument/2006/relationships/image" Target="../media/image227.svg"/><Relationship Id="rId59" Type="http://schemas.openxmlformats.org/officeDocument/2006/relationships/image" Target="../media/image240.png"/><Relationship Id="rId67" Type="http://schemas.openxmlformats.org/officeDocument/2006/relationships/image" Target="../media/image248.png"/><Relationship Id="rId20" Type="http://schemas.openxmlformats.org/officeDocument/2006/relationships/image" Target="../media/image201.svg"/><Relationship Id="rId41" Type="http://schemas.openxmlformats.org/officeDocument/2006/relationships/image" Target="../media/image222.png"/><Relationship Id="rId54" Type="http://schemas.openxmlformats.org/officeDocument/2006/relationships/image" Target="../media/image235.svg"/><Relationship Id="rId62" Type="http://schemas.openxmlformats.org/officeDocument/2006/relationships/image" Target="../media/image243.svg"/><Relationship Id="rId1" Type="http://schemas.openxmlformats.org/officeDocument/2006/relationships/tags" Target="../tags/tag73.xml"/><Relationship Id="rId6" Type="http://schemas.openxmlformats.org/officeDocument/2006/relationships/image" Target="../media/image187.svg"/><Relationship Id="rId15" Type="http://schemas.openxmlformats.org/officeDocument/2006/relationships/image" Target="../media/image196.png"/><Relationship Id="rId23" Type="http://schemas.openxmlformats.org/officeDocument/2006/relationships/image" Target="../media/image204.png"/><Relationship Id="rId28" Type="http://schemas.openxmlformats.org/officeDocument/2006/relationships/image" Target="../media/image209.svg"/><Relationship Id="rId36" Type="http://schemas.openxmlformats.org/officeDocument/2006/relationships/image" Target="../media/image217.svg"/><Relationship Id="rId49" Type="http://schemas.openxmlformats.org/officeDocument/2006/relationships/image" Target="../media/image230.png"/><Relationship Id="rId57" Type="http://schemas.openxmlformats.org/officeDocument/2006/relationships/image" Target="../media/image238.png"/><Relationship Id="rId10" Type="http://schemas.openxmlformats.org/officeDocument/2006/relationships/image" Target="../media/image191.svg"/><Relationship Id="rId31" Type="http://schemas.openxmlformats.org/officeDocument/2006/relationships/image" Target="../media/image212.png"/><Relationship Id="rId44" Type="http://schemas.openxmlformats.org/officeDocument/2006/relationships/image" Target="../media/image225.svg"/><Relationship Id="rId52" Type="http://schemas.openxmlformats.org/officeDocument/2006/relationships/image" Target="../media/image233.svg"/><Relationship Id="rId60" Type="http://schemas.openxmlformats.org/officeDocument/2006/relationships/image" Target="../media/image241.svg"/><Relationship Id="rId65" Type="http://schemas.openxmlformats.org/officeDocument/2006/relationships/image" Target="../media/image246.png"/><Relationship Id="rId4" Type="http://schemas.openxmlformats.org/officeDocument/2006/relationships/image" Target="../media/image1.emf"/><Relationship Id="rId9" Type="http://schemas.openxmlformats.org/officeDocument/2006/relationships/image" Target="../media/image190.png"/><Relationship Id="rId13" Type="http://schemas.openxmlformats.org/officeDocument/2006/relationships/image" Target="../media/image194.png"/><Relationship Id="rId18" Type="http://schemas.openxmlformats.org/officeDocument/2006/relationships/image" Target="../media/image199.svg"/><Relationship Id="rId39" Type="http://schemas.openxmlformats.org/officeDocument/2006/relationships/image" Target="../media/image220.png"/></Relationships>
</file>

<file path=ppt/slides/_rels/slide47.xml.rels><?xml version="1.0" encoding="UTF-8" standalone="yes"?>
<Relationships xmlns="http://schemas.openxmlformats.org/package/2006/relationships"><Relationship Id="rId26" Type="http://schemas.openxmlformats.org/officeDocument/2006/relationships/image" Target="../media/image271.svg"/><Relationship Id="rId21" Type="http://schemas.openxmlformats.org/officeDocument/2006/relationships/image" Target="../media/image266.png"/><Relationship Id="rId34" Type="http://schemas.openxmlformats.org/officeDocument/2006/relationships/image" Target="../media/image279.svg"/><Relationship Id="rId42" Type="http://schemas.openxmlformats.org/officeDocument/2006/relationships/image" Target="../media/image287.svg"/><Relationship Id="rId47" Type="http://schemas.openxmlformats.org/officeDocument/2006/relationships/image" Target="../media/image292.png"/><Relationship Id="rId50" Type="http://schemas.openxmlformats.org/officeDocument/2006/relationships/image" Target="../media/image295.svg"/><Relationship Id="rId55" Type="http://schemas.openxmlformats.org/officeDocument/2006/relationships/image" Target="../media/image300.png"/><Relationship Id="rId63" Type="http://schemas.openxmlformats.org/officeDocument/2006/relationships/image" Target="../media/image308.png"/><Relationship Id="rId68" Type="http://schemas.openxmlformats.org/officeDocument/2006/relationships/image" Target="../media/image313.svg"/><Relationship Id="rId7" Type="http://schemas.openxmlformats.org/officeDocument/2006/relationships/image" Target="../media/image252.png"/><Relationship Id="rId2" Type="http://schemas.openxmlformats.org/officeDocument/2006/relationships/slideLayout" Target="../slideLayouts/slideLayout9.xml"/><Relationship Id="rId16" Type="http://schemas.openxmlformats.org/officeDocument/2006/relationships/image" Target="../media/image261.svg"/><Relationship Id="rId29" Type="http://schemas.openxmlformats.org/officeDocument/2006/relationships/image" Target="../media/image274.png"/><Relationship Id="rId11" Type="http://schemas.openxmlformats.org/officeDocument/2006/relationships/image" Target="../media/image256.png"/><Relationship Id="rId24" Type="http://schemas.openxmlformats.org/officeDocument/2006/relationships/image" Target="../media/image269.svg"/><Relationship Id="rId32" Type="http://schemas.openxmlformats.org/officeDocument/2006/relationships/image" Target="../media/image277.svg"/><Relationship Id="rId37" Type="http://schemas.openxmlformats.org/officeDocument/2006/relationships/image" Target="../media/image282.png"/><Relationship Id="rId40" Type="http://schemas.openxmlformats.org/officeDocument/2006/relationships/image" Target="../media/image285.svg"/><Relationship Id="rId45" Type="http://schemas.openxmlformats.org/officeDocument/2006/relationships/image" Target="../media/image290.png"/><Relationship Id="rId53" Type="http://schemas.openxmlformats.org/officeDocument/2006/relationships/image" Target="../media/image298.png"/><Relationship Id="rId58" Type="http://schemas.openxmlformats.org/officeDocument/2006/relationships/image" Target="../media/image303.svg"/><Relationship Id="rId66" Type="http://schemas.openxmlformats.org/officeDocument/2006/relationships/image" Target="../media/image311.svg"/><Relationship Id="rId5" Type="http://schemas.openxmlformats.org/officeDocument/2006/relationships/image" Target="../media/image250.png"/><Relationship Id="rId61" Type="http://schemas.openxmlformats.org/officeDocument/2006/relationships/image" Target="../media/image306.png"/><Relationship Id="rId19" Type="http://schemas.openxmlformats.org/officeDocument/2006/relationships/image" Target="../media/image264.png"/><Relationship Id="rId14" Type="http://schemas.openxmlformats.org/officeDocument/2006/relationships/image" Target="../media/image259.svg"/><Relationship Id="rId22" Type="http://schemas.openxmlformats.org/officeDocument/2006/relationships/image" Target="../media/image267.svg"/><Relationship Id="rId27" Type="http://schemas.openxmlformats.org/officeDocument/2006/relationships/image" Target="../media/image272.png"/><Relationship Id="rId30" Type="http://schemas.openxmlformats.org/officeDocument/2006/relationships/image" Target="../media/image275.svg"/><Relationship Id="rId35" Type="http://schemas.openxmlformats.org/officeDocument/2006/relationships/image" Target="../media/image280.png"/><Relationship Id="rId43" Type="http://schemas.openxmlformats.org/officeDocument/2006/relationships/image" Target="../media/image288.png"/><Relationship Id="rId48" Type="http://schemas.openxmlformats.org/officeDocument/2006/relationships/image" Target="../media/image293.svg"/><Relationship Id="rId56" Type="http://schemas.openxmlformats.org/officeDocument/2006/relationships/image" Target="../media/image301.svg"/><Relationship Id="rId64" Type="http://schemas.openxmlformats.org/officeDocument/2006/relationships/image" Target="../media/image309.svg"/><Relationship Id="rId8" Type="http://schemas.openxmlformats.org/officeDocument/2006/relationships/image" Target="../media/image253.svg"/><Relationship Id="rId51" Type="http://schemas.openxmlformats.org/officeDocument/2006/relationships/image" Target="../media/image296.png"/><Relationship Id="rId3" Type="http://schemas.openxmlformats.org/officeDocument/2006/relationships/oleObject" Target="../embeddings/oleObject73.bin"/><Relationship Id="rId12" Type="http://schemas.openxmlformats.org/officeDocument/2006/relationships/image" Target="../media/image257.svg"/><Relationship Id="rId17" Type="http://schemas.openxmlformats.org/officeDocument/2006/relationships/image" Target="../media/image262.png"/><Relationship Id="rId25" Type="http://schemas.openxmlformats.org/officeDocument/2006/relationships/image" Target="../media/image270.png"/><Relationship Id="rId33" Type="http://schemas.openxmlformats.org/officeDocument/2006/relationships/image" Target="../media/image278.png"/><Relationship Id="rId38" Type="http://schemas.openxmlformats.org/officeDocument/2006/relationships/image" Target="../media/image283.svg"/><Relationship Id="rId46" Type="http://schemas.openxmlformats.org/officeDocument/2006/relationships/image" Target="../media/image291.svg"/><Relationship Id="rId59" Type="http://schemas.openxmlformats.org/officeDocument/2006/relationships/image" Target="../media/image304.png"/><Relationship Id="rId67" Type="http://schemas.openxmlformats.org/officeDocument/2006/relationships/image" Target="../media/image312.png"/><Relationship Id="rId20" Type="http://schemas.openxmlformats.org/officeDocument/2006/relationships/image" Target="../media/image265.svg"/><Relationship Id="rId41" Type="http://schemas.openxmlformats.org/officeDocument/2006/relationships/image" Target="../media/image286.png"/><Relationship Id="rId54" Type="http://schemas.openxmlformats.org/officeDocument/2006/relationships/image" Target="../media/image299.svg"/><Relationship Id="rId62" Type="http://schemas.openxmlformats.org/officeDocument/2006/relationships/image" Target="../media/image307.svg"/><Relationship Id="rId1" Type="http://schemas.openxmlformats.org/officeDocument/2006/relationships/tags" Target="../tags/tag74.xml"/><Relationship Id="rId6" Type="http://schemas.openxmlformats.org/officeDocument/2006/relationships/image" Target="../media/image251.svg"/><Relationship Id="rId15" Type="http://schemas.openxmlformats.org/officeDocument/2006/relationships/image" Target="../media/image260.png"/><Relationship Id="rId23" Type="http://schemas.openxmlformats.org/officeDocument/2006/relationships/image" Target="../media/image268.png"/><Relationship Id="rId28" Type="http://schemas.openxmlformats.org/officeDocument/2006/relationships/image" Target="../media/image273.svg"/><Relationship Id="rId36" Type="http://schemas.openxmlformats.org/officeDocument/2006/relationships/image" Target="../media/image281.svg"/><Relationship Id="rId49" Type="http://schemas.openxmlformats.org/officeDocument/2006/relationships/image" Target="../media/image294.png"/><Relationship Id="rId57" Type="http://schemas.openxmlformats.org/officeDocument/2006/relationships/image" Target="../media/image302.png"/><Relationship Id="rId10" Type="http://schemas.openxmlformats.org/officeDocument/2006/relationships/image" Target="../media/image255.svg"/><Relationship Id="rId31" Type="http://schemas.openxmlformats.org/officeDocument/2006/relationships/image" Target="../media/image276.png"/><Relationship Id="rId44" Type="http://schemas.openxmlformats.org/officeDocument/2006/relationships/image" Target="../media/image289.svg"/><Relationship Id="rId52" Type="http://schemas.openxmlformats.org/officeDocument/2006/relationships/image" Target="../media/image297.svg"/><Relationship Id="rId60" Type="http://schemas.openxmlformats.org/officeDocument/2006/relationships/image" Target="../media/image305.svg"/><Relationship Id="rId65" Type="http://schemas.openxmlformats.org/officeDocument/2006/relationships/image" Target="../media/image310.png"/><Relationship Id="rId4" Type="http://schemas.openxmlformats.org/officeDocument/2006/relationships/image" Target="../media/image1.emf"/><Relationship Id="rId9" Type="http://schemas.openxmlformats.org/officeDocument/2006/relationships/image" Target="../media/image254.png"/><Relationship Id="rId13" Type="http://schemas.openxmlformats.org/officeDocument/2006/relationships/image" Target="../media/image258.png"/><Relationship Id="rId18" Type="http://schemas.openxmlformats.org/officeDocument/2006/relationships/image" Target="../media/image263.svg"/><Relationship Id="rId39" Type="http://schemas.openxmlformats.org/officeDocument/2006/relationships/image" Target="../media/image284.png"/></Relationships>
</file>

<file path=ppt/slides/_rels/slide48.xml.rels><?xml version="1.0" encoding="UTF-8" standalone="yes"?>
<Relationships xmlns="http://schemas.openxmlformats.org/package/2006/relationships"><Relationship Id="rId26" Type="http://schemas.openxmlformats.org/officeDocument/2006/relationships/image" Target="../media/image335.svg"/><Relationship Id="rId21" Type="http://schemas.openxmlformats.org/officeDocument/2006/relationships/image" Target="../media/image330.png"/><Relationship Id="rId34" Type="http://schemas.openxmlformats.org/officeDocument/2006/relationships/image" Target="../media/image343.svg"/><Relationship Id="rId42" Type="http://schemas.openxmlformats.org/officeDocument/2006/relationships/image" Target="../media/image351.svg"/><Relationship Id="rId47" Type="http://schemas.openxmlformats.org/officeDocument/2006/relationships/image" Target="../media/image356.png"/><Relationship Id="rId50" Type="http://schemas.openxmlformats.org/officeDocument/2006/relationships/image" Target="../media/image359.svg"/><Relationship Id="rId55" Type="http://schemas.openxmlformats.org/officeDocument/2006/relationships/image" Target="../media/image364.png"/><Relationship Id="rId63" Type="http://schemas.openxmlformats.org/officeDocument/2006/relationships/image" Target="../media/image372.png"/><Relationship Id="rId68" Type="http://schemas.openxmlformats.org/officeDocument/2006/relationships/image" Target="../media/image377.svg"/><Relationship Id="rId7" Type="http://schemas.openxmlformats.org/officeDocument/2006/relationships/image" Target="../media/image316.png"/><Relationship Id="rId2" Type="http://schemas.openxmlformats.org/officeDocument/2006/relationships/slideLayout" Target="../slideLayouts/slideLayout9.xml"/><Relationship Id="rId16" Type="http://schemas.openxmlformats.org/officeDocument/2006/relationships/image" Target="../media/image325.svg"/><Relationship Id="rId29" Type="http://schemas.openxmlformats.org/officeDocument/2006/relationships/image" Target="../media/image338.png"/><Relationship Id="rId11" Type="http://schemas.openxmlformats.org/officeDocument/2006/relationships/image" Target="../media/image320.png"/><Relationship Id="rId24" Type="http://schemas.openxmlformats.org/officeDocument/2006/relationships/image" Target="../media/image333.svg"/><Relationship Id="rId32" Type="http://schemas.openxmlformats.org/officeDocument/2006/relationships/image" Target="../media/image341.svg"/><Relationship Id="rId37" Type="http://schemas.openxmlformats.org/officeDocument/2006/relationships/image" Target="../media/image346.png"/><Relationship Id="rId40" Type="http://schemas.openxmlformats.org/officeDocument/2006/relationships/image" Target="../media/image349.svg"/><Relationship Id="rId45" Type="http://schemas.openxmlformats.org/officeDocument/2006/relationships/image" Target="../media/image354.png"/><Relationship Id="rId53" Type="http://schemas.openxmlformats.org/officeDocument/2006/relationships/image" Target="../media/image362.png"/><Relationship Id="rId58" Type="http://schemas.openxmlformats.org/officeDocument/2006/relationships/image" Target="../media/image367.svg"/><Relationship Id="rId66" Type="http://schemas.openxmlformats.org/officeDocument/2006/relationships/image" Target="../media/image375.svg"/><Relationship Id="rId5" Type="http://schemas.openxmlformats.org/officeDocument/2006/relationships/image" Target="../media/image314.png"/><Relationship Id="rId61" Type="http://schemas.openxmlformats.org/officeDocument/2006/relationships/image" Target="../media/image370.png"/><Relationship Id="rId19" Type="http://schemas.openxmlformats.org/officeDocument/2006/relationships/image" Target="../media/image328.png"/><Relationship Id="rId14" Type="http://schemas.openxmlformats.org/officeDocument/2006/relationships/image" Target="../media/image323.svg"/><Relationship Id="rId22" Type="http://schemas.openxmlformats.org/officeDocument/2006/relationships/image" Target="../media/image331.svg"/><Relationship Id="rId27" Type="http://schemas.openxmlformats.org/officeDocument/2006/relationships/image" Target="../media/image336.png"/><Relationship Id="rId30" Type="http://schemas.openxmlformats.org/officeDocument/2006/relationships/image" Target="../media/image339.svg"/><Relationship Id="rId35" Type="http://schemas.openxmlformats.org/officeDocument/2006/relationships/image" Target="../media/image344.png"/><Relationship Id="rId43" Type="http://schemas.openxmlformats.org/officeDocument/2006/relationships/image" Target="../media/image352.png"/><Relationship Id="rId48" Type="http://schemas.openxmlformats.org/officeDocument/2006/relationships/image" Target="../media/image357.svg"/><Relationship Id="rId56" Type="http://schemas.openxmlformats.org/officeDocument/2006/relationships/image" Target="../media/image365.svg"/><Relationship Id="rId64" Type="http://schemas.openxmlformats.org/officeDocument/2006/relationships/image" Target="../media/image373.svg"/><Relationship Id="rId8" Type="http://schemas.openxmlformats.org/officeDocument/2006/relationships/image" Target="../media/image317.svg"/><Relationship Id="rId51" Type="http://schemas.openxmlformats.org/officeDocument/2006/relationships/image" Target="../media/image360.png"/><Relationship Id="rId3" Type="http://schemas.openxmlformats.org/officeDocument/2006/relationships/oleObject" Target="../embeddings/oleObject74.bin"/><Relationship Id="rId12" Type="http://schemas.openxmlformats.org/officeDocument/2006/relationships/image" Target="../media/image321.svg"/><Relationship Id="rId17" Type="http://schemas.openxmlformats.org/officeDocument/2006/relationships/image" Target="../media/image326.png"/><Relationship Id="rId25" Type="http://schemas.openxmlformats.org/officeDocument/2006/relationships/image" Target="../media/image334.png"/><Relationship Id="rId33" Type="http://schemas.openxmlformats.org/officeDocument/2006/relationships/image" Target="../media/image342.png"/><Relationship Id="rId38" Type="http://schemas.openxmlformats.org/officeDocument/2006/relationships/image" Target="../media/image347.svg"/><Relationship Id="rId46" Type="http://schemas.openxmlformats.org/officeDocument/2006/relationships/image" Target="../media/image355.svg"/><Relationship Id="rId59" Type="http://schemas.openxmlformats.org/officeDocument/2006/relationships/image" Target="../media/image368.png"/><Relationship Id="rId67" Type="http://schemas.openxmlformats.org/officeDocument/2006/relationships/image" Target="../media/image376.png"/><Relationship Id="rId20" Type="http://schemas.openxmlformats.org/officeDocument/2006/relationships/image" Target="../media/image329.svg"/><Relationship Id="rId41" Type="http://schemas.openxmlformats.org/officeDocument/2006/relationships/image" Target="../media/image350.png"/><Relationship Id="rId54" Type="http://schemas.openxmlformats.org/officeDocument/2006/relationships/image" Target="../media/image363.svg"/><Relationship Id="rId62" Type="http://schemas.openxmlformats.org/officeDocument/2006/relationships/image" Target="../media/image371.svg"/><Relationship Id="rId1" Type="http://schemas.openxmlformats.org/officeDocument/2006/relationships/tags" Target="../tags/tag75.xml"/><Relationship Id="rId6" Type="http://schemas.openxmlformats.org/officeDocument/2006/relationships/image" Target="../media/image315.svg"/><Relationship Id="rId15" Type="http://schemas.openxmlformats.org/officeDocument/2006/relationships/image" Target="../media/image324.png"/><Relationship Id="rId23" Type="http://schemas.openxmlformats.org/officeDocument/2006/relationships/image" Target="../media/image332.png"/><Relationship Id="rId28" Type="http://schemas.openxmlformats.org/officeDocument/2006/relationships/image" Target="../media/image337.svg"/><Relationship Id="rId36" Type="http://schemas.openxmlformats.org/officeDocument/2006/relationships/image" Target="../media/image345.svg"/><Relationship Id="rId49" Type="http://schemas.openxmlformats.org/officeDocument/2006/relationships/image" Target="../media/image358.png"/><Relationship Id="rId57" Type="http://schemas.openxmlformats.org/officeDocument/2006/relationships/image" Target="../media/image366.png"/><Relationship Id="rId10" Type="http://schemas.openxmlformats.org/officeDocument/2006/relationships/image" Target="../media/image319.svg"/><Relationship Id="rId31" Type="http://schemas.openxmlformats.org/officeDocument/2006/relationships/image" Target="../media/image340.png"/><Relationship Id="rId44" Type="http://schemas.openxmlformats.org/officeDocument/2006/relationships/image" Target="../media/image353.svg"/><Relationship Id="rId52" Type="http://schemas.openxmlformats.org/officeDocument/2006/relationships/image" Target="../media/image361.svg"/><Relationship Id="rId60" Type="http://schemas.openxmlformats.org/officeDocument/2006/relationships/image" Target="../media/image369.svg"/><Relationship Id="rId65" Type="http://schemas.openxmlformats.org/officeDocument/2006/relationships/image" Target="../media/image374.png"/><Relationship Id="rId4" Type="http://schemas.openxmlformats.org/officeDocument/2006/relationships/image" Target="../media/image1.emf"/><Relationship Id="rId9" Type="http://schemas.openxmlformats.org/officeDocument/2006/relationships/image" Target="../media/image318.png"/><Relationship Id="rId13" Type="http://schemas.openxmlformats.org/officeDocument/2006/relationships/image" Target="../media/image322.png"/><Relationship Id="rId18" Type="http://schemas.openxmlformats.org/officeDocument/2006/relationships/image" Target="../media/image327.svg"/><Relationship Id="rId39" Type="http://schemas.openxmlformats.org/officeDocument/2006/relationships/image" Target="../media/image348.png"/></Relationships>
</file>

<file path=ppt/slides/_rels/slide49.xml.rels><?xml version="1.0" encoding="UTF-8" standalone="yes"?>
<Relationships xmlns="http://schemas.openxmlformats.org/package/2006/relationships"><Relationship Id="rId26" Type="http://schemas.openxmlformats.org/officeDocument/2006/relationships/image" Target="../media/image399.svg"/><Relationship Id="rId21" Type="http://schemas.openxmlformats.org/officeDocument/2006/relationships/image" Target="../media/image394.png"/><Relationship Id="rId34" Type="http://schemas.openxmlformats.org/officeDocument/2006/relationships/image" Target="../media/image407.svg"/><Relationship Id="rId42" Type="http://schemas.openxmlformats.org/officeDocument/2006/relationships/image" Target="../media/image415.svg"/><Relationship Id="rId47" Type="http://schemas.openxmlformats.org/officeDocument/2006/relationships/image" Target="../media/image420.png"/><Relationship Id="rId50" Type="http://schemas.openxmlformats.org/officeDocument/2006/relationships/image" Target="../media/image423.svg"/><Relationship Id="rId55" Type="http://schemas.openxmlformats.org/officeDocument/2006/relationships/image" Target="../media/image428.png"/><Relationship Id="rId63" Type="http://schemas.openxmlformats.org/officeDocument/2006/relationships/image" Target="../media/image436.png"/><Relationship Id="rId68" Type="http://schemas.openxmlformats.org/officeDocument/2006/relationships/image" Target="../media/image441.svg"/><Relationship Id="rId7" Type="http://schemas.openxmlformats.org/officeDocument/2006/relationships/image" Target="../media/image380.png"/><Relationship Id="rId2" Type="http://schemas.openxmlformats.org/officeDocument/2006/relationships/slideLayout" Target="../slideLayouts/slideLayout9.xml"/><Relationship Id="rId16" Type="http://schemas.openxmlformats.org/officeDocument/2006/relationships/image" Target="../media/image389.svg"/><Relationship Id="rId29" Type="http://schemas.openxmlformats.org/officeDocument/2006/relationships/image" Target="../media/image402.png"/><Relationship Id="rId11" Type="http://schemas.openxmlformats.org/officeDocument/2006/relationships/image" Target="../media/image384.png"/><Relationship Id="rId24" Type="http://schemas.openxmlformats.org/officeDocument/2006/relationships/image" Target="../media/image397.svg"/><Relationship Id="rId32" Type="http://schemas.openxmlformats.org/officeDocument/2006/relationships/image" Target="../media/image405.svg"/><Relationship Id="rId37" Type="http://schemas.openxmlformats.org/officeDocument/2006/relationships/image" Target="../media/image410.png"/><Relationship Id="rId40" Type="http://schemas.openxmlformats.org/officeDocument/2006/relationships/image" Target="../media/image413.svg"/><Relationship Id="rId45" Type="http://schemas.openxmlformats.org/officeDocument/2006/relationships/image" Target="../media/image418.png"/><Relationship Id="rId53" Type="http://schemas.openxmlformats.org/officeDocument/2006/relationships/image" Target="../media/image426.png"/><Relationship Id="rId58" Type="http://schemas.openxmlformats.org/officeDocument/2006/relationships/image" Target="../media/image431.svg"/><Relationship Id="rId66" Type="http://schemas.openxmlformats.org/officeDocument/2006/relationships/image" Target="../media/image439.svg"/><Relationship Id="rId5" Type="http://schemas.openxmlformats.org/officeDocument/2006/relationships/image" Target="../media/image378.png"/><Relationship Id="rId61" Type="http://schemas.openxmlformats.org/officeDocument/2006/relationships/image" Target="../media/image434.png"/><Relationship Id="rId19" Type="http://schemas.openxmlformats.org/officeDocument/2006/relationships/image" Target="../media/image392.png"/><Relationship Id="rId14" Type="http://schemas.openxmlformats.org/officeDocument/2006/relationships/image" Target="../media/image387.svg"/><Relationship Id="rId22" Type="http://schemas.openxmlformats.org/officeDocument/2006/relationships/image" Target="../media/image395.svg"/><Relationship Id="rId27" Type="http://schemas.openxmlformats.org/officeDocument/2006/relationships/image" Target="../media/image400.png"/><Relationship Id="rId30" Type="http://schemas.openxmlformats.org/officeDocument/2006/relationships/image" Target="../media/image403.svg"/><Relationship Id="rId35" Type="http://schemas.openxmlformats.org/officeDocument/2006/relationships/image" Target="../media/image408.png"/><Relationship Id="rId43" Type="http://schemas.openxmlformats.org/officeDocument/2006/relationships/image" Target="../media/image416.png"/><Relationship Id="rId48" Type="http://schemas.openxmlformats.org/officeDocument/2006/relationships/image" Target="../media/image421.svg"/><Relationship Id="rId56" Type="http://schemas.openxmlformats.org/officeDocument/2006/relationships/image" Target="../media/image429.svg"/><Relationship Id="rId64" Type="http://schemas.openxmlformats.org/officeDocument/2006/relationships/image" Target="../media/image437.svg"/><Relationship Id="rId8" Type="http://schemas.openxmlformats.org/officeDocument/2006/relationships/image" Target="../media/image381.svg"/><Relationship Id="rId51" Type="http://schemas.openxmlformats.org/officeDocument/2006/relationships/image" Target="../media/image424.png"/><Relationship Id="rId3" Type="http://schemas.openxmlformats.org/officeDocument/2006/relationships/oleObject" Target="../embeddings/oleObject75.bin"/><Relationship Id="rId12" Type="http://schemas.openxmlformats.org/officeDocument/2006/relationships/image" Target="../media/image385.svg"/><Relationship Id="rId17" Type="http://schemas.openxmlformats.org/officeDocument/2006/relationships/image" Target="../media/image390.png"/><Relationship Id="rId25" Type="http://schemas.openxmlformats.org/officeDocument/2006/relationships/image" Target="../media/image398.png"/><Relationship Id="rId33" Type="http://schemas.openxmlformats.org/officeDocument/2006/relationships/image" Target="../media/image406.png"/><Relationship Id="rId38" Type="http://schemas.openxmlformats.org/officeDocument/2006/relationships/image" Target="../media/image411.svg"/><Relationship Id="rId46" Type="http://schemas.openxmlformats.org/officeDocument/2006/relationships/image" Target="../media/image419.svg"/><Relationship Id="rId59" Type="http://schemas.openxmlformats.org/officeDocument/2006/relationships/image" Target="../media/image432.png"/><Relationship Id="rId67" Type="http://schemas.openxmlformats.org/officeDocument/2006/relationships/image" Target="../media/image440.png"/><Relationship Id="rId20" Type="http://schemas.openxmlformats.org/officeDocument/2006/relationships/image" Target="../media/image393.svg"/><Relationship Id="rId41" Type="http://schemas.openxmlformats.org/officeDocument/2006/relationships/image" Target="../media/image414.png"/><Relationship Id="rId54" Type="http://schemas.openxmlformats.org/officeDocument/2006/relationships/image" Target="../media/image427.svg"/><Relationship Id="rId62" Type="http://schemas.openxmlformats.org/officeDocument/2006/relationships/image" Target="../media/image435.svg"/><Relationship Id="rId1" Type="http://schemas.openxmlformats.org/officeDocument/2006/relationships/tags" Target="../tags/tag76.xml"/><Relationship Id="rId6" Type="http://schemas.openxmlformats.org/officeDocument/2006/relationships/image" Target="../media/image379.svg"/><Relationship Id="rId15" Type="http://schemas.openxmlformats.org/officeDocument/2006/relationships/image" Target="../media/image388.png"/><Relationship Id="rId23" Type="http://schemas.openxmlformats.org/officeDocument/2006/relationships/image" Target="../media/image396.png"/><Relationship Id="rId28" Type="http://schemas.openxmlformats.org/officeDocument/2006/relationships/image" Target="../media/image401.svg"/><Relationship Id="rId36" Type="http://schemas.openxmlformats.org/officeDocument/2006/relationships/image" Target="../media/image409.svg"/><Relationship Id="rId49" Type="http://schemas.openxmlformats.org/officeDocument/2006/relationships/image" Target="../media/image422.png"/><Relationship Id="rId57" Type="http://schemas.openxmlformats.org/officeDocument/2006/relationships/image" Target="../media/image430.png"/><Relationship Id="rId10" Type="http://schemas.openxmlformats.org/officeDocument/2006/relationships/image" Target="../media/image383.svg"/><Relationship Id="rId31" Type="http://schemas.openxmlformats.org/officeDocument/2006/relationships/image" Target="../media/image404.png"/><Relationship Id="rId44" Type="http://schemas.openxmlformats.org/officeDocument/2006/relationships/image" Target="../media/image417.svg"/><Relationship Id="rId52" Type="http://schemas.openxmlformats.org/officeDocument/2006/relationships/image" Target="../media/image425.svg"/><Relationship Id="rId60" Type="http://schemas.openxmlformats.org/officeDocument/2006/relationships/image" Target="../media/image433.svg"/><Relationship Id="rId65" Type="http://schemas.openxmlformats.org/officeDocument/2006/relationships/image" Target="../media/image438.png"/><Relationship Id="rId4" Type="http://schemas.openxmlformats.org/officeDocument/2006/relationships/image" Target="../media/image1.emf"/><Relationship Id="rId9" Type="http://schemas.openxmlformats.org/officeDocument/2006/relationships/image" Target="../media/image382.png"/><Relationship Id="rId13" Type="http://schemas.openxmlformats.org/officeDocument/2006/relationships/image" Target="../media/image386.png"/><Relationship Id="rId18" Type="http://schemas.openxmlformats.org/officeDocument/2006/relationships/image" Target="../media/image391.svg"/><Relationship Id="rId39" Type="http://schemas.openxmlformats.org/officeDocument/2006/relationships/image" Target="../media/image4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0.xml.rels><?xml version="1.0" encoding="UTF-8" standalone="yes"?>
<Relationships xmlns="http://schemas.openxmlformats.org/package/2006/relationships"><Relationship Id="rId26" Type="http://schemas.openxmlformats.org/officeDocument/2006/relationships/image" Target="../media/image463.svg"/><Relationship Id="rId21" Type="http://schemas.openxmlformats.org/officeDocument/2006/relationships/image" Target="../media/image458.png"/><Relationship Id="rId34" Type="http://schemas.openxmlformats.org/officeDocument/2006/relationships/image" Target="../media/image471.svg"/><Relationship Id="rId42" Type="http://schemas.openxmlformats.org/officeDocument/2006/relationships/image" Target="../media/image479.svg"/><Relationship Id="rId47" Type="http://schemas.openxmlformats.org/officeDocument/2006/relationships/image" Target="../media/image484.png"/><Relationship Id="rId50" Type="http://schemas.openxmlformats.org/officeDocument/2006/relationships/image" Target="../media/image487.svg"/><Relationship Id="rId55" Type="http://schemas.openxmlformats.org/officeDocument/2006/relationships/image" Target="../media/image492.png"/><Relationship Id="rId63" Type="http://schemas.openxmlformats.org/officeDocument/2006/relationships/image" Target="../media/image500.png"/><Relationship Id="rId68" Type="http://schemas.openxmlformats.org/officeDocument/2006/relationships/image" Target="../media/image505.svg"/><Relationship Id="rId7" Type="http://schemas.openxmlformats.org/officeDocument/2006/relationships/image" Target="../media/image444.png"/><Relationship Id="rId2" Type="http://schemas.openxmlformats.org/officeDocument/2006/relationships/slideLayout" Target="../slideLayouts/slideLayout9.xml"/><Relationship Id="rId16" Type="http://schemas.openxmlformats.org/officeDocument/2006/relationships/image" Target="../media/image453.svg"/><Relationship Id="rId29" Type="http://schemas.openxmlformats.org/officeDocument/2006/relationships/image" Target="../media/image466.png"/><Relationship Id="rId11" Type="http://schemas.openxmlformats.org/officeDocument/2006/relationships/image" Target="../media/image448.png"/><Relationship Id="rId24" Type="http://schemas.openxmlformats.org/officeDocument/2006/relationships/image" Target="../media/image461.svg"/><Relationship Id="rId32" Type="http://schemas.openxmlformats.org/officeDocument/2006/relationships/image" Target="../media/image469.svg"/><Relationship Id="rId37" Type="http://schemas.openxmlformats.org/officeDocument/2006/relationships/image" Target="../media/image474.png"/><Relationship Id="rId40" Type="http://schemas.openxmlformats.org/officeDocument/2006/relationships/image" Target="../media/image477.svg"/><Relationship Id="rId45" Type="http://schemas.openxmlformats.org/officeDocument/2006/relationships/image" Target="../media/image482.png"/><Relationship Id="rId53" Type="http://schemas.openxmlformats.org/officeDocument/2006/relationships/image" Target="../media/image490.png"/><Relationship Id="rId58" Type="http://schemas.openxmlformats.org/officeDocument/2006/relationships/image" Target="../media/image495.svg"/><Relationship Id="rId66" Type="http://schemas.openxmlformats.org/officeDocument/2006/relationships/image" Target="../media/image503.svg"/><Relationship Id="rId5" Type="http://schemas.openxmlformats.org/officeDocument/2006/relationships/image" Target="../media/image442.png"/><Relationship Id="rId61" Type="http://schemas.openxmlformats.org/officeDocument/2006/relationships/image" Target="../media/image498.png"/><Relationship Id="rId19" Type="http://schemas.openxmlformats.org/officeDocument/2006/relationships/image" Target="../media/image456.png"/><Relationship Id="rId14" Type="http://schemas.openxmlformats.org/officeDocument/2006/relationships/image" Target="../media/image451.svg"/><Relationship Id="rId22" Type="http://schemas.openxmlformats.org/officeDocument/2006/relationships/image" Target="../media/image459.svg"/><Relationship Id="rId27" Type="http://schemas.openxmlformats.org/officeDocument/2006/relationships/image" Target="../media/image464.png"/><Relationship Id="rId30" Type="http://schemas.openxmlformats.org/officeDocument/2006/relationships/image" Target="../media/image467.svg"/><Relationship Id="rId35" Type="http://schemas.openxmlformats.org/officeDocument/2006/relationships/image" Target="../media/image472.png"/><Relationship Id="rId43" Type="http://schemas.openxmlformats.org/officeDocument/2006/relationships/image" Target="../media/image480.png"/><Relationship Id="rId48" Type="http://schemas.openxmlformats.org/officeDocument/2006/relationships/image" Target="../media/image485.svg"/><Relationship Id="rId56" Type="http://schemas.openxmlformats.org/officeDocument/2006/relationships/image" Target="../media/image493.svg"/><Relationship Id="rId64" Type="http://schemas.openxmlformats.org/officeDocument/2006/relationships/image" Target="../media/image501.svg"/><Relationship Id="rId8" Type="http://schemas.openxmlformats.org/officeDocument/2006/relationships/image" Target="../media/image445.svg"/><Relationship Id="rId51" Type="http://schemas.openxmlformats.org/officeDocument/2006/relationships/image" Target="../media/image488.png"/><Relationship Id="rId3" Type="http://schemas.openxmlformats.org/officeDocument/2006/relationships/oleObject" Target="../embeddings/oleObject76.bin"/><Relationship Id="rId12" Type="http://schemas.openxmlformats.org/officeDocument/2006/relationships/image" Target="../media/image449.svg"/><Relationship Id="rId17" Type="http://schemas.openxmlformats.org/officeDocument/2006/relationships/image" Target="../media/image454.png"/><Relationship Id="rId25" Type="http://schemas.openxmlformats.org/officeDocument/2006/relationships/image" Target="../media/image462.png"/><Relationship Id="rId33" Type="http://schemas.openxmlformats.org/officeDocument/2006/relationships/image" Target="../media/image470.png"/><Relationship Id="rId38" Type="http://schemas.openxmlformats.org/officeDocument/2006/relationships/image" Target="../media/image475.svg"/><Relationship Id="rId46" Type="http://schemas.openxmlformats.org/officeDocument/2006/relationships/image" Target="../media/image483.svg"/><Relationship Id="rId59" Type="http://schemas.openxmlformats.org/officeDocument/2006/relationships/image" Target="../media/image496.png"/><Relationship Id="rId67" Type="http://schemas.openxmlformats.org/officeDocument/2006/relationships/image" Target="../media/image504.png"/><Relationship Id="rId20" Type="http://schemas.openxmlformats.org/officeDocument/2006/relationships/image" Target="../media/image457.svg"/><Relationship Id="rId41" Type="http://schemas.openxmlformats.org/officeDocument/2006/relationships/image" Target="../media/image478.png"/><Relationship Id="rId54" Type="http://schemas.openxmlformats.org/officeDocument/2006/relationships/image" Target="../media/image491.svg"/><Relationship Id="rId62" Type="http://schemas.openxmlformats.org/officeDocument/2006/relationships/image" Target="../media/image499.svg"/><Relationship Id="rId1" Type="http://schemas.openxmlformats.org/officeDocument/2006/relationships/tags" Target="../tags/tag77.xml"/><Relationship Id="rId6" Type="http://schemas.openxmlformats.org/officeDocument/2006/relationships/image" Target="../media/image443.svg"/><Relationship Id="rId15" Type="http://schemas.openxmlformats.org/officeDocument/2006/relationships/image" Target="../media/image452.png"/><Relationship Id="rId23" Type="http://schemas.openxmlformats.org/officeDocument/2006/relationships/image" Target="../media/image460.png"/><Relationship Id="rId28" Type="http://schemas.openxmlformats.org/officeDocument/2006/relationships/image" Target="../media/image465.svg"/><Relationship Id="rId36" Type="http://schemas.openxmlformats.org/officeDocument/2006/relationships/image" Target="../media/image473.svg"/><Relationship Id="rId49" Type="http://schemas.openxmlformats.org/officeDocument/2006/relationships/image" Target="../media/image486.png"/><Relationship Id="rId57" Type="http://schemas.openxmlformats.org/officeDocument/2006/relationships/image" Target="../media/image494.png"/><Relationship Id="rId10" Type="http://schemas.openxmlformats.org/officeDocument/2006/relationships/image" Target="../media/image447.svg"/><Relationship Id="rId31" Type="http://schemas.openxmlformats.org/officeDocument/2006/relationships/image" Target="../media/image468.png"/><Relationship Id="rId44" Type="http://schemas.openxmlformats.org/officeDocument/2006/relationships/image" Target="../media/image481.svg"/><Relationship Id="rId52" Type="http://schemas.openxmlformats.org/officeDocument/2006/relationships/image" Target="../media/image489.svg"/><Relationship Id="rId60" Type="http://schemas.openxmlformats.org/officeDocument/2006/relationships/image" Target="../media/image497.svg"/><Relationship Id="rId65" Type="http://schemas.openxmlformats.org/officeDocument/2006/relationships/image" Target="../media/image502.png"/><Relationship Id="rId4" Type="http://schemas.openxmlformats.org/officeDocument/2006/relationships/image" Target="../media/image1.emf"/><Relationship Id="rId9" Type="http://schemas.openxmlformats.org/officeDocument/2006/relationships/image" Target="../media/image446.png"/><Relationship Id="rId13" Type="http://schemas.openxmlformats.org/officeDocument/2006/relationships/image" Target="../media/image450.png"/><Relationship Id="rId18" Type="http://schemas.openxmlformats.org/officeDocument/2006/relationships/image" Target="../media/image455.svg"/><Relationship Id="rId39" Type="http://schemas.openxmlformats.org/officeDocument/2006/relationships/image" Target="../media/image47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extLst>
              <p:ext uri="{D42A27DB-BD31-4B8C-83A1-F6EECF244321}">
                <p14:modId xmlns:p14="http://schemas.microsoft.com/office/powerpoint/2010/main" val="59507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p:txBody>
          <a:bodyPr vert="horz"/>
          <a:lstStyle/>
          <a:p>
            <a:r>
              <a:rPr lang="de-DE" dirty="0"/>
              <a:t>*title*</a:t>
            </a:r>
            <a:endParaRPr lang="de-DE" b="1" dirty="0"/>
          </a:p>
        </p:txBody>
      </p:sp>
      <p:sp>
        <p:nvSpPr>
          <p:cNvPr id="6" name="Textplatzhalter 5">
            <a:extLst>
              <a:ext uri="{FF2B5EF4-FFF2-40B4-BE49-F238E27FC236}">
                <a16:creationId xmlns:a16="http://schemas.microsoft.com/office/drawing/2014/main" id="{21C37B6B-EE0D-40DA-400A-9A3814205ADA}"/>
              </a:ext>
            </a:extLst>
          </p:cNvPr>
          <p:cNvSpPr>
            <a:spLocks noGrp="1"/>
          </p:cNvSpPr>
          <p:nvPr>
            <p:ph type="body" sz="quarter" idx="10"/>
          </p:nvPr>
        </p:nvSpPr>
        <p:spPr>
          <a:xfrm>
            <a:off x="623888" y="3687554"/>
            <a:ext cx="995767" cy="318924"/>
          </a:xfrm>
        </p:spPr>
        <p:txBody>
          <a:bodyPr/>
          <a:lstStyle/>
          <a:p>
            <a:r>
              <a:rPr lang="de-DE" dirty="0"/>
              <a:t>*</a:t>
            </a:r>
            <a:r>
              <a:rPr lang="de-DE" dirty="0" err="1"/>
              <a:t>subtitle</a:t>
            </a:r>
            <a:r>
              <a:rPr lang="de-DE" dirty="0"/>
              <a:t>*</a:t>
            </a:r>
          </a:p>
        </p:txBody>
      </p:sp>
    </p:spTree>
    <p:extLst>
      <p:ext uri="{BB962C8B-B14F-4D97-AF65-F5344CB8AC3E}">
        <p14:creationId xmlns:p14="http://schemas.microsoft.com/office/powerpoint/2010/main" val="1961435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2809609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p:txBody>
          <a:bodyPr/>
          <a:lstStyle/>
          <a:p>
            <a:r>
              <a:rPr lang="de-DE" sz="1600" b="1" dirty="0">
                <a:solidFill>
                  <a:schemeClr val="bg1"/>
                </a:solidFill>
                <a:ea typeface="Akkurat LL Thin" panose="020B0404020101010102" pitchFamily="34" charset="-126"/>
                <a:cs typeface="Akkurat LL Thin" panose="020B0404020101010102" pitchFamily="34" charset="-126"/>
              </a:rPr>
              <a:t>Ich bin ein hervorgehobener Gliederungspunkt</a:t>
            </a:r>
            <a:endParaRPr lang="de-DE" sz="1600" b="1" dirty="0">
              <a:solidFill>
                <a:schemeClr val="bg1"/>
              </a:solidFill>
              <a:ea typeface="Akkurat LL" panose="020B0504020101010102" pitchFamily="34" charset="-126"/>
              <a:cs typeface="Akkurat LL" panose="020B0504020101010102" pitchFamily="34" charset="-126"/>
            </a:endParaRP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p:txBody>
          <a:bodyPr/>
          <a:lstStyle/>
          <a:p>
            <a:r>
              <a:rPr lang="de-DE" sz="1600" dirty="0">
                <a:solidFill>
                  <a:schemeClr val="bg1"/>
                </a:solidFill>
                <a:ea typeface="Akkurat LL Thin" panose="020B0404020101010102" pitchFamily="34" charset="-126"/>
                <a:cs typeface="Akkurat LL Thin" panose="020B0404020101010102" pitchFamily="34" charset="-126"/>
              </a:rPr>
              <a:t>Ich bin ein Gliederungspunkt</a:t>
            </a:r>
            <a:endParaRPr lang="de-DE" sz="1600" dirty="0">
              <a:solidFill>
                <a:schemeClr val="bg1"/>
              </a:solidFill>
              <a:ea typeface="Akkurat LL" panose="020B0504020101010102" pitchFamily="34" charset="-126"/>
              <a:cs typeface="Akkurat LL" panose="020B0504020101010102" pitchFamily="34" charset="-126"/>
            </a:endParaRP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solidFill>
            <a:schemeClr val="bg2"/>
          </a:solidFill>
        </p:spPr>
        <p:txBody>
          <a:bodyPr/>
          <a:lstStyle/>
          <a:p>
            <a:r>
              <a:rPr lang="de-DE" b="1" dirty="0">
                <a:solidFill>
                  <a:schemeClr val="bg1"/>
                </a:solidFill>
              </a:rPr>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p:txBody>
          <a:bodyPr vert="horz"/>
          <a:lstStyle/>
          <a:p>
            <a:r>
              <a:rPr lang="de-DE" sz="4000" dirty="0">
                <a:solidFill>
                  <a:schemeClr val="bg1"/>
                </a:solidFill>
              </a:rPr>
              <a:t>Agenda</a:t>
            </a:r>
          </a:p>
        </p:txBody>
      </p:sp>
      <p:sp>
        <p:nvSpPr>
          <p:cNvPr id="18" name="Fußzeilenplatzhalter 17">
            <a:extLst>
              <a:ext uri="{FF2B5EF4-FFF2-40B4-BE49-F238E27FC236}">
                <a16:creationId xmlns:a16="http://schemas.microsoft.com/office/drawing/2014/main" id="{29A77D59-0741-2627-3095-D5158C256072}"/>
              </a:ext>
            </a:extLst>
          </p:cNvPr>
          <p:cNvSpPr>
            <a:spLocks noGrp="1"/>
          </p:cNvSpPr>
          <p:nvPr>
            <p:ph type="ftr" sz="quarter" idx="10"/>
          </p:nvPr>
        </p:nvSpPr>
        <p:spPr/>
        <p:txBody>
          <a:bodyPr/>
          <a:lstStyle/>
          <a:p>
            <a:r>
              <a:rPr lang="de-DE" dirty="0"/>
              <a:t>© msg digital | Titel einfügen | 2024</a:t>
            </a:r>
          </a:p>
        </p:txBody>
      </p:sp>
      <p:sp>
        <p:nvSpPr>
          <p:cNvPr id="19" name="Foliennummernplatzhalter 18">
            <a:extLst>
              <a:ext uri="{FF2B5EF4-FFF2-40B4-BE49-F238E27FC236}">
                <a16:creationId xmlns:a16="http://schemas.microsoft.com/office/drawing/2014/main" id="{BF8CE911-1BC0-31F3-C760-B986C30FF7A0}"/>
              </a:ext>
            </a:extLst>
          </p:cNvPr>
          <p:cNvSpPr>
            <a:spLocks noGrp="1"/>
          </p:cNvSpPr>
          <p:nvPr>
            <p:ph type="sldNum" sz="quarter" idx="11"/>
          </p:nvPr>
        </p:nvSpPr>
        <p:spPr/>
        <p:txBody>
          <a:bodyPr/>
          <a:lstStyle/>
          <a:p>
            <a:fld id="{1FBD72F1-A42A-46B0-A7F8-CE6A9835826C}" type="slidenum">
              <a:rPr lang="de-DE" smtClean="0"/>
              <a:pPr/>
              <a:t>10</a:t>
            </a:fld>
            <a:endParaRPr lang="de-DE" dirty="0"/>
          </a:p>
        </p:txBody>
      </p:sp>
    </p:spTree>
    <p:extLst>
      <p:ext uri="{BB962C8B-B14F-4D97-AF65-F5344CB8AC3E}">
        <p14:creationId xmlns:p14="http://schemas.microsoft.com/office/powerpoint/2010/main" val="1330507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268567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a:xfrm>
            <a:off x="5119688" y="1773238"/>
            <a:ext cx="5472112" cy="1661993"/>
          </a:xfrm>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9" name="Fußzeilenplatzhalter 8">
            <a:extLst>
              <a:ext uri="{FF2B5EF4-FFF2-40B4-BE49-F238E27FC236}">
                <a16:creationId xmlns:a16="http://schemas.microsoft.com/office/drawing/2014/main" id="{22056586-85C6-0495-E17A-DAB6F53A4736}"/>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B77CCB2-F33A-E255-E4CC-3EDC9C638BF4}"/>
              </a:ext>
            </a:extLst>
          </p:cNvPr>
          <p:cNvSpPr>
            <a:spLocks noGrp="1"/>
          </p:cNvSpPr>
          <p:nvPr>
            <p:ph type="sldNum" sz="quarter" idx="11"/>
          </p:nvPr>
        </p:nvSpPr>
        <p:spPr/>
        <p:txBody>
          <a:bodyPr/>
          <a:lstStyle/>
          <a:p>
            <a:fld id="{1FBD72F1-A42A-46B0-A7F8-CE6A9835826C}" type="slidenum">
              <a:rPr lang="de-DE" smtClean="0"/>
              <a:pPr/>
              <a:t>11</a:t>
            </a:fld>
            <a:endParaRPr lang="de-DE" dirty="0"/>
          </a:p>
        </p:txBody>
      </p:sp>
    </p:spTree>
    <p:extLst>
      <p:ext uri="{BB962C8B-B14F-4D97-AF65-F5344CB8AC3E}">
        <p14:creationId xmlns:p14="http://schemas.microsoft.com/office/powerpoint/2010/main" val="246547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071FC8-4DF1-62FF-7FD0-B2D72E5B2DAD}"/>
              </a:ext>
            </a:extLst>
          </p:cNvPr>
          <p:cNvGraphicFramePr>
            <a:graphicFrameLocks noChangeAspect="1"/>
          </p:cNvGraphicFramePr>
          <p:nvPr>
            <p:custDataLst>
              <p:tags r:id="rId1"/>
            </p:custDataLst>
            <p:extLst>
              <p:ext uri="{D42A27DB-BD31-4B8C-83A1-F6EECF244321}">
                <p14:modId xmlns:p14="http://schemas.microsoft.com/office/powerpoint/2010/main" val="426548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7" name="think-cell data - do not delete" hidden="1">
                        <a:extLst>
                          <a:ext uri="{FF2B5EF4-FFF2-40B4-BE49-F238E27FC236}">
                            <a16:creationId xmlns:a16="http://schemas.microsoft.com/office/drawing/2014/main" id="{A2071FC8-4DF1-62FF-7FD0-B2D72E5B2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D5CAD14-1BD6-2F32-F2BF-754A735FB921}"/>
              </a:ext>
            </a:extLst>
          </p:cNvPr>
          <p:cNvSpPr>
            <a:spLocks noGrp="1"/>
          </p:cNvSpPr>
          <p:nvPr>
            <p:ph type="body" sz="quarter" idx="20"/>
          </p:nvPr>
        </p:nvSpPr>
        <p:spPr>
          <a:xfrm>
            <a:off x="5548516" y="1866127"/>
            <a:ext cx="5408522" cy="246221"/>
          </a:xfrm>
        </p:spPr>
        <p:txBody>
          <a:bodyPr/>
          <a:lstStyle/>
          <a:p>
            <a:r>
              <a:rPr lang="de-DE" dirty="0"/>
              <a:t>Ich bin ein Gliederungspunkt</a:t>
            </a:r>
          </a:p>
        </p:txBody>
      </p:sp>
      <p:sp>
        <p:nvSpPr>
          <p:cNvPr id="3" name="Textplatzhalter 2">
            <a:extLst>
              <a:ext uri="{FF2B5EF4-FFF2-40B4-BE49-F238E27FC236}">
                <a16:creationId xmlns:a16="http://schemas.microsoft.com/office/drawing/2014/main" id="{DD903B14-8EDE-6440-44B7-E67A41E7A316}"/>
              </a:ext>
            </a:extLst>
          </p:cNvPr>
          <p:cNvSpPr>
            <a:spLocks noGrp="1"/>
          </p:cNvSpPr>
          <p:nvPr>
            <p:ph type="body" sz="quarter" idx="21"/>
          </p:nvPr>
        </p:nvSpPr>
        <p:spPr>
          <a:xfrm>
            <a:off x="5548516" y="2461633"/>
            <a:ext cx="5408522" cy="246221"/>
          </a:xfrm>
        </p:spPr>
        <p:txBody>
          <a:bodyPr/>
          <a:lstStyle/>
          <a:p>
            <a:r>
              <a:rPr lang="de-DE" b="1" dirty="0"/>
              <a:t>Ich bin ein hervorgehobener Gliederungspunkt</a:t>
            </a:r>
          </a:p>
        </p:txBody>
      </p:sp>
      <p:sp>
        <p:nvSpPr>
          <p:cNvPr id="4" name="Textplatzhalter 3">
            <a:extLst>
              <a:ext uri="{FF2B5EF4-FFF2-40B4-BE49-F238E27FC236}">
                <a16:creationId xmlns:a16="http://schemas.microsoft.com/office/drawing/2014/main" id="{82FDD120-9653-7EEE-CEA5-E57726DAC234}"/>
              </a:ext>
            </a:extLst>
          </p:cNvPr>
          <p:cNvSpPr>
            <a:spLocks noGrp="1"/>
          </p:cNvSpPr>
          <p:nvPr>
            <p:ph type="body" sz="quarter" idx="22"/>
          </p:nvPr>
        </p:nvSpPr>
        <p:spPr>
          <a:xfrm>
            <a:off x="5548516" y="3057139"/>
            <a:ext cx="5408522" cy="246221"/>
          </a:xfrm>
        </p:spPr>
        <p:txBody>
          <a:bodyPr/>
          <a:lstStyle/>
          <a:p>
            <a:r>
              <a:rPr lang="de-DE" dirty="0"/>
              <a:t>Ich bin ein Gliederungspunkt</a:t>
            </a:r>
          </a:p>
        </p:txBody>
      </p:sp>
      <p:sp>
        <p:nvSpPr>
          <p:cNvPr id="5" name="Textplatzhalter 4">
            <a:extLst>
              <a:ext uri="{FF2B5EF4-FFF2-40B4-BE49-F238E27FC236}">
                <a16:creationId xmlns:a16="http://schemas.microsoft.com/office/drawing/2014/main" id="{4AC05263-D2DE-7593-9874-C5792953194F}"/>
              </a:ext>
            </a:extLst>
          </p:cNvPr>
          <p:cNvSpPr>
            <a:spLocks noGrp="1"/>
          </p:cNvSpPr>
          <p:nvPr>
            <p:ph type="body" sz="quarter" idx="23"/>
          </p:nvPr>
        </p:nvSpPr>
        <p:spPr>
          <a:xfrm>
            <a:off x="5548516" y="3652646"/>
            <a:ext cx="5408522" cy="246221"/>
          </a:xfrm>
        </p:spPr>
        <p:txBody>
          <a:bodyPr/>
          <a:lstStyle/>
          <a:p>
            <a:r>
              <a:rPr lang="de-DE" dirty="0"/>
              <a:t>Ich bin ein Gliederungspunkt</a:t>
            </a:r>
          </a:p>
        </p:txBody>
      </p:sp>
      <p:sp>
        <p:nvSpPr>
          <p:cNvPr id="6" name="Textplatzhalter 5">
            <a:extLst>
              <a:ext uri="{FF2B5EF4-FFF2-40B4-BE49-F238E27FC236}">
                <a16:creationId xmlns:a16="http://schemas.microsoft.com/office/drawing/2014/main" id="{1A5E3465-DAFD-6646-6971-1D1099617514}"/>
              </a:ext>
            </a:extLst>
          </p:cNvPr>
          <p:cNvSpPr>
            <a:spLocks noGrp="1"/>
          </p:cNvSpPr>
          <p:nvPr>
            <p:ph type="body" sz="quarter" idx="24"/>
          </p:nvPr>
        </p:nvSpPr>
        <p:spPr>
          <a:xfrm>
            <a:off x="5548516" y="4248152"/>
            <a:ext cx="5408522" cy="246221"/>
          </a:xfrm>
        </p:spPr>
        <p:txBody>
          <a:bodyPr/>
          <a:lstStyle/>
          <a:p>
            <a:r>
              <a:rPr lang="de-DE" dirty="0"/>
              <a:t>Ich bin ein Gliederungspunkt</a:t>
            </a:r>
          </a:p>
        </p:txBody>
      </p:sp>
      <p:sp>
        <p:nvSpPr>
          <p:cNvPr id="7" name="Textplatzhalter 6">
            <a:extLst>
              <a:ext uri="{FF2B5EF4-FFF2-40B4-BE49-F238E27FC236}">
                <a16:creationId xmlns:a16="http://schemas.microsoft.com/office/drawing/2014/main" id="{E79EEFA4-2DCE-955B-C273-159F4EB588BB}"/>
              </a:ext>
            </a:extLst>
          </p:cNvPr>
          <p:cNvSpPr>
            <a:spLocks noGrp="1"/>
          </p:cNvSpPr>
          <p:nvPr>
            <p:ph type="body" sz="quarter" idx="25"/>
          </p:nvPr>
        </p:nvSpPr>
        <p:spPr>
          <a:xfrm>
            <a:off x="5548516" y="4843658"/>
            <a:ext cx="5408522" cy="246221"/>
          </a:xfrm>
        </p:spPr>
        <p:txBody>
          <a:bodyPr/>
          <a:lstStyle/>
          <a:p>
            <a:r>
              <a:rPr lang="de-DE" dirty="0"/>
              <a:t>Ich bin ein Gliederungspunkt</a:t>
            </a:r>
          </a:p>
        </p:txBody>
      </p:sp>
      <p:sp>
        <p:nvSpPr>
          <p:cNvPr id="8" name="Textplatzhalter 7">
            <a:extLst>
              <a:ext uri="{FF2B5EF4-FFF2-40B4-BE49-F238E27FC236}">
                <a16:creationId xmlns:a16="http://schemas.microsoft.com/office/drawing/2014/main" id="{FB210751-75A4-8E1C-B17B-41EA81773F5A}"/>
              </a:ext>
            </a:extLst>
          </p:cNvPr>
          <p:cNvSpPr>
            <a:spLocks noGrp="1"/>
          </p:cNvSpPr>
          <p:nvPr>
            <p:ph type="body" sz="quarter" idx="26"/>
          </p:nvPr>
        </p:nvSpPr>
        <p:spPr>
          <a:xfrm>
            <a:off x="5548516" y="5439164"/>
            <a:ext cx="5408522" cy="246221"/>
          </a:xfrm>
        </p:spPr>
        <p:txBody>
          <a:bodyPr/>
          <a:lstStyle/>
          <a:p>
            <a:r>
              <a:rPr lang="de-DE" dirty="0"/>
              <a:t>Ich bin ein Gliederungspunkt</a:t>
            </a:r>
          </a:p>
        </p:txBody>
      </p:sp>
      <p:sp>
        <p:nvSpPr>
          <p:cNvPr id="9" name="Textplatzhalter 8">
            <a:extLst>
              <a:ext uri="{FF2B5EF4-FFF2-40B4-BE49-F238E27FC236}">
                <a16:creationId xmlns:a16="http://schemas.microsoft.com/office/drawing/2014/main" id="{8888B573-F6AF-D6B2-38DA-7FC06F165DBE}"/>
              </a:ext>
            </a:extLst>
          </p:cNvPr>
          <p:cNvSpPr>
            <a:spLocks noGrp="1"/>
          </p:cNvSpPr>
          <p:nvPr>
            <p:ph type="body" sz="quarter" idx="27"/>
          </p:nvPr>
        </p:nvSpPr>
        <p:spPr>
          <a:xfrm>
            <a:off x="4847545" y="1773238"/>
            <a:ext cx="432000" cy="432000"/>
          </a:xfrm>
        </p:spPr>
        <p:txBody>
          <a:bodyPr/>
          <a:lstStyle/>
          <a:p>
            <a:r>
              <a:rPr lang="de-DE" dirty="0"/>
              <a:t>01</a:t>
            </a:r>
          </a:p>
        </p:txBody>
      </p:sp>
      <p:sp>
        <p:nvSpPr>
          <p:cNvPr id="10" name="Textplatzhalter 9">
            <a:extLst>
              <a:ext uri="{FF2B5EF4-FFF2-40B4-BE49-F238E27FC236}">
                <a16:creationId xmlns:a16="http://schemas.microsoft.com/office/drawing/2014/main" id="{24EAB626-C77D-6516-FBF8-88CD1F5D994A}"/>
              </a:ext>
            </a:extLst>
          </p:cNvPr>
          <p:cNvSpPr>
            <a:spLocks noGrp="1"/>
          </p:cNvSpPr>
          <p:nvPr>
            <p:ph type="body" sz="quarter" idx="28"/>
          </p:nvPr>
        </p:nvSpPr>
        <p:spPr>
          <a:xfrm>
            <a:off x="4847545" y="2368744"/>
            <a:ext cx="432000" cy="432000"/>
          </a:xfrm>
          <a:solidFill>
            <a:schemeClr val="bg2"/>
          </a:solidFill>
        </p:spPr>
        <p:txBody>
          <a:bodyPr/>
          <a:lstStyle/>
          <a:p>
            <a:r>
              <a:rPr lang="de-DE" b="1" dirty="0"/>
              <a:t>02</a:t>
            </a:r>
          </a:p>
        </p:txBody>
      </p:sp>
      <p:sp>
        <p:nvSpPr>
          <p:cNvPr id="11" name="Textplatzhalter 10">
            <a:extLst>
              <a:ext uri="{FF2B5EF4-FFF2-40B4-BE49-F238E27FC236}">
                <a16:creationId xmlns:a16="http://schemas.microsoft.com/office/drawing/2014/main" id="{9C54E712-069D-432D-9192-6237258F777A}"/>
              </a:ext>
            </a:extLst>
          </p:cNvPr>
          <p:cNvSpPr>
            <a:spLocks noGrp="1"/>
          </p:cNvSpPr>
          <p:nvPr>
            <p:ph type="body" sz="quarter" idx="29"/>
          </p:nvPr>
        </p:nvSpPr>
        <p:spPr>
          <a:xfrm>
            <a:off x="4847545" y="2964250"/>
            <a:ext cx="432000" cy="432000"/>
          </a:xfrm>
        </p:spPr>
        <p:txBody>
          <a:bodyPr/>
          <a:lstStyle/>
          <a:p>
            <a:r>
              <a:rPr lang="de-DE" dirty="0"/>
              <a:t>03</a:t>
            </a:r>
          </a:p>
        </p:txBody>
      </p:sp>
      <p:sp>
        <p:nvSpPr>
          <p:cNvPr id="12" name="Textplatzhalter 11">
            <a:extLst>
              <a:ext uri="{FF2B5EF4-FFF2-40B4-BE49-F238E27FC236}">
                <a16:creationId xmlns:a16="http://schemas.microsoft.com/office/drawing/2014/main" id="{306B9C65-93D2-17FD-6046-8435ACCDA726}"/>
              </a:ext>
            </a:extLst>
          </p:cNvPr>
          <p:cNvSpPr>
            <a:spLocks noGrp="1"/>
          </p:cNvSpPr>
          <p:nvPr>
            <p:ph type="body" sz="quarter" idx="31"/>
          </p:nvPr>
        </p:nvSpPr>
        <p:spPr>
          <a:xfrm>
            <a:off x="4847545" y="3559756"/>
            <a:ext cx="432000" cy="432000"/>
          </a:xfrm>
        </p:spPr>
        <p:txBody>
          <a:bodyPr/>
          <a:lstStyle/>
          <a:p>
            <a:r>
              <a:rPr lang="de-DE" dirty="0"/>
              <a:t>04</a:t>
            </a:r>
          </a:p>
        </p:txBody>
      </p:sp>
      <p:sp>
        <p:nvSpPr>
          <p:cNvPr id="13" name="Textplatzhalter 12">
            <a:extLst>
              <a:ext uri="{FF2B5EF4-FFF2-40B4-BE49-F238E27FC236}">
                <a16:creationId xmlns:a16="http://schemas.microsoft.com/office/drawing/2014/main" id="{44D7A6BD-439D-3FF2-F272-88DA5D116324}"/>
              </a:ext>
            </a:extLst>
          </p:cNvPr>
          <p:cNvSpPr>
            <a:spLocks noGrp="1"/>
          </p:cNvSpPr>
          <p:nvPr>
            <p:ph type="body" sz="quarter" idx="32"/>
          </p:nvPr>
        </p:nvSpPr>
        <p:spPr>
          <a:xfrm>
            <a:off x="4847545" y="4155262"/>
            <a:ext cx="432000" cy="432000"/>
          </a:xfrm>
        </p:spPr>
        <p:txBody>
          <a:bodyPr/>
          <a:lstStyle/>
          <a:p>
            <a:r>
              <a:rPr lang="de-DE" dirty="0"/>
              <a:t>05</a:t>
            </a:r>
          </a:p>
        </p:txBody>
      </p:sp>
      <p:sp>
        <p:nvSpPr>
          <p:cNvPr id="14" name="Textplatzhalter 13">
            <a:extLst>
              <a:ext uri="{FF2B5EF4-FFF2-40B4-BE49-F238E27FC236}">
                <a16:creationId xmlns:a16="http://schemas.microsoft.com/office/drawing/2014/main" id="{9C3BFE3A-C3C3-98F4-340A-29C508F7667F}"/>
              </a:ext>
            </a:extLst>
          </p:cNvPr>
          <p:cNvSpPr>
            <a:spLocks noGrp="1"/>
          </p:cNvSpPr>
          <p:nvPr>
            <p:ph type="body" sz="quarter" idx="33"/>
          </p:nvPr>
        </p:nvSpPr>
        <p:spPr>
          <a:xfrm>
            <a:off x="4847545" y="4750768"/>
            <a:ext cx="432000" cy="432000"/>
          </a:xfrm>
        </p:spPr>
        <p:txBody>
          <a:bodyPr/>
          <a:lstStyle/>
          <a:p>
            <a:r>
              <a:rPr lang="de-DE" dirty="0"/>
              <a:t>06</a:t>
            </a:r>
          </a:p>
        </p:txBody>
      </p:sp>
      <p:sp>
        <p:nvSpPr>
          <p:cNvPr id="15" name="Textplatzhalter 14">
            <a:extLst>
              <a:ext uri="{FF2B5EF4-FFF2-40B4-BE49-F238E27FC236}">
                <a16:creationId xmlns:a16="http://schemas.microsoft.com/office/drawing/2014/main" id="{523EF857-1091-4E04-92C9-F73FE1323733}"/>
              </a:ext>
            </a:extLst>
          </p:cNvPr>
          <p:cNvSpPr>
            <a:spLocks noGrp="1"/>
          </p:cNvSpPr>
          <p:nvPr>
            <p:ph type="body" sz="quarter" idx="34"/>
          </p:nvPr>
        </p:nvSpPr>
        <p:spPr>
          <a:xfrm>
            <a:off x="4847545" y="5346274"/>
            <a:ext cx="432000" cy="432000"/>
          </a:xfrm>
        </p:spPr>
        <p:txBody>
          <a:bodyPr/>
          <a:lstStyle/>
          <a:p>
            <a:r>
              <a:rPr lang="de-DE" dirty="0"/>
              <a:t>07</a:t>
            </a:r>
          </a:p>
        </p:txBody>
      </p:sp>
      <p:sp>
        <p:nvSpPr>
          <p:cNvPr id="16" name="Titel 15">
            <a:extLst>
              <a:ext uri="{FF2B5EF4-FFF2-40B4-BE49-F238E27FC236}">
                <a16:creationId xmlns:a16="http://schemas.microsoft.com/office/drawing/2014/main" id="{1017E3B6-2B68-C4C4-C3A5-A9327059F140}"/>
              </a:ext>
            </a:extLst>
          </p:cNvPr>
          <p:cNvSpPr>
            <a:spLocks noGrp="1"/>
          </p:cNvSpPr>
          <p:nvPr>
            <p:ph type="title"/>
          </p:nvPr>
        </p:nvSpPr>
        <p:spPr>
          <a:xfrm>
            <a:off x="4847545" y="620713"/>
            <a:ext cx="5265176" cy="738664"/>
          </a:xfrm>
        </p:spPr>
        <p:txBody>
          <a:bodyPr vert="horz"/>
          <a:lstStyle/>
          <a:p>
            <a:r>
              <a:rPr lang="de-DE" dirty="0"/>
              <a:t>Agenda</a:t>
            </a:r>
          </a:p>
        </p:txBody>
      </p:sp>
      <p:sp>
        <p:nvSpPr>
          <p:cNvPr id="33" name="Fußzeilenplatzhalter 32">
            <a:extLst>
              <a:ext uri="{FF2B5EF4-FFF2-40B4-BE49-F238E27FC236}">
                <a16:creationId xmlns:a16="http://schemas.microsoft.com/office/drawing/2014/main" id="{BB578C1F-D66B-4928-7D9C-52CB1FE4C71E}"/>
              </a:ext>
            </a:extLst>
          </p:cNvPr>
          <p:cNvSpPr>
            <a:spLocks noGrp="1"/>
          </p:cNvSpPr>
          <p:nvPr>
            <p:ph type="ftr" sz="quarter" idx="10"/>
          </p:nvPr>
        </p:nvSpPr>
        <p:spPr/>
        <p:txBody>
          <a:bodyPr/>
          <a:lstStyle/>
          <a:p>
            <a:r>
              <a:rPr lang="de-DE" dirty="0"/>
              <a:t>© msg digital | Titel einfügen | 2024</a:t>
            </a:r>
          </a:p>
        </p:txBody>
      </p:sp>
      <p:sp>
        <p:nvSpPr>
          <p:cNvPr id="34" name="Foliennummernplatzhalter 33">
            <a:extLst>
              <a:ext uri="{FF2B5EF4-FFF2-40B4-BE49-F238E27FC236}">
                <a16:creationId xmlns:a16="http://schemas.microsoft.com/office/drawing/2014/main" id="{9F1AB137-C98D-FEB8-BC26-3F5A19DBB557}"/>
              </a:ext>
            </a:extLst>
          </p:cNvPr>
          <p:cNvSpPr>
            <a:spLocks noGrp="1"/>
          </p:cNvSpPr>
          <p:nvPr>
            <p:ph type="sldNum" sz="quarter" idx="11"/>
          </p:nvPr>
        </p:nvSpPr>
        <p:spPr/>
        <p:txBody>
          <a:bodyPr/>
          <a:lstStyle/>
          <a:p>
            <a:fld id="{1FBD72F1-A42A-46B0-A7F8-CE6A9835826C}" type="slidenum">
              <a:rPr lang="de-DE" smtClean="0"/>
              <a:pPr/>
              <a:t>12</a:t>
            </a:fld>
            <a:endParaRPr lang="de-DE" dirty="0"/>
          </a:p>
        </p:txBody>
      </p:sp>
    </p:spTree>
    <p:extLst>
      <p:ext uri="{BB962C8B-B14F-4D97-AF65-F5344CB8AC3E}">
        <p14:creationId xmlns:p14="http://schemas.microsoft.com/office/powerpoint/2010/main" val="1391379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67A2441-D06A-1A00-B32A-F462B59C46AA}"/>
              </a:ext>
            </a:extLst>
          </p:cNvPr>
          <p:cNvGraphicFramePr>
            <a:graphicFrameLocks noChangeAspect="1"/>
          </p:cNvGraphicFramePr>
          <p:nvPr>
            <p:custDataLst>
              <p:tags r:id="rId1"/>
            </p:custDataLst>
            <p:extLst>
              <p:ext uri="{D42A27DB-BD31-4B8C-83A1-F6EECF244321}">
                <p14:modId xmlns:p14="http://schemas.microsoft.com/office/powerpoint/2010/main" val="302896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C67A2441-D06A-1A00-B32A-F462B59C46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CA8F7B7-37E4-AD9D-A0F5-63595DD59D41}"/>
              </a:ext>
            </a:extLst>
          </p:cNvPr>
          <p:cNvSpPr>
            <a:spLocks noGrp="1"/>
          </p:cNvSpPr>
          <p:nvPr>
            <p:ph type="title"/>
          </p:nvPr>
        </p:nvSpPr>
        <p:spPr/>
        <p:txBody>
          <a:bodyPr vert="horz"/>
          <a:lstStyle/>
          <a:p>
            <a:r>
              <a:rPr lang="de-DE" dirty="0"/>
              <a:t>Das ist ein </a:t>
            </a:r>
            <a:br>
              <a:rPr lang="de-DE" dirty="0"/>
            </a:br>
            <a:r>
              <a:rPr lang="de-DE" dirty="0"/>
              <a:t>neues </a:t>
            </a:r>
            <a:r>
              <a:rPr lang="de-DE" b="1" dirty="0"/>
              <a:t>Kapitel</a:t>
            </a:r>
          </a:p>
        </p:txBody>
      </p:sp>
      <p:sp>
        <p:nvSpPr>
          <p:cNvPr id="5" name="Textplatzhalter 4">
            <a:extLst>
              <a:ext uri="{FF2B5EF4-FFF2-40B4-BE49-F238E27FC236}">
                <a16:creationId xmlns:a16="http://schemas.microsoft.com/office/drawing/2014/main" id="{DF52D8E9-FE47-822E-FBDD-0AF6F91A350F}"/>
              </a:ext>
            </a:extLst>
          </p:cNvPr>
          <p:cNvSpPr>
            <a:spLocks noGrp="1"/>
          </p:cNvSpPr>
          <p:nvPr>
            <p:ph type="body" sz="quarter" idx="12"/>
          </p:nvPr>
        </p:nvSpPr>
        <p:spPr>
          <a:xfrm>
            <a:off x="5119688" y="3668975"/>
            <a:ext cx="1770788" cy="318924"/>
          </a:xfrm>
        </p:spPr>
        <p:txBody>
          <a:bodyPr/>
          <a:lstStyle/>
          <a:p>
            <a:r>
              <a:rPr lang="de-DE" dirty="0"/>
              <a:t>Optionaler Subtitle</a:t>
            </a:r>
          </a:p>
        </p:txBody>
      </p:sp>
      <p:sp>
        <p:nvSpPr>
          <p:cNvPr id="4" name="Fußzeilenplatzhalter 3">
            <a:extLst>
              <a:ext uri="{FF2B5EF4-FFF2-40B4-BE49-F238E27FC236}">
                <a16:creationId xmlns:a16="http://schemas.microsoft.com/office/drawing/2014/main" id="{FF51D37A-F17A-CAB6-8653-1E326DBC6400}"/>
              </a:ext>
            </a:extLst>
          </p:cNvPr>
          <p:cNvSpPr>
            <a:spLocks noGrp="1"/>
          </p:cNvSpPr>
          <p:nvPr>
            <p:ph type="ftr" sz="quarter" idx="10"/>
          </p:nvPr>
        </p:nvSpPr>
        <p:spPr/>
        <p:txBody>
          <a:bodyPr/>
          <a:lstStyle/>
          <a:p>
            <a:r>
              <a:rPr lang="de-DE" dirty="0"/>
              <a:t>© msg digital | Titel einfügen | 2024</a:t>
            </a:r>
          </a:p>
        </p:txBody>
      </p:sp>
      <p:sp>
        <p:nvSpPr>
          <p:cNvPr id="6" name="Foliennummernplatzhalter 5">
            <a:extLst>
              <a:ext uri="{FF2B5EF4-FFF2-40B4-BE49-F238E27FC236}">
                <a16:creationId xmlns:a16="http://schemas.microsoft.com/office/drawing/2014/main" id="{F7BFDA25-D623-D8DC-A41E-82EB68953861}"/>
              </a:ext>
            </a:extLst>
          </p:cNvPr>
          <p:cNvSpPr>
            <a:spLocks noGrp="1"/>
          </p:cNvSpPr>
          <p:nvPr>
            <p:ph type="sldNum" sz="quarter" idx="11"/>
          </p:nvPr>
        </p:nvSpPr>
        <p:spPr/>
        <p:txBody>
          <a:bodyPr/>
          <a:lstStyle/>
          <a:p>
            <a:fld id="{1FBD72F1-A42A-46B0-A7F8-CE6A9835826C}" type="slidenum">
              <a:rPr lang="de-DE" smtClean="0"/>
              <a:pPr/>
              <a:t>13</a:t>
            </a:fld>
            <a:endParaRPr lang="de-DE" dirty="0"/>
          </a:p>
        </p:txBody>
      </p:sp>
    </p:spTree>
    <p:extLst>
      <p:ext uri="{BB962C8B-B14F-4D97-AF65-F5344CB8AC3E}">
        <p14:creationId xmlns:p14="http://schemas.microsoft.com/office/powerpoint/2010/main" val="4279919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99407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a:xfrm>
            <a:off x="623888" y="1773239"/>
            <a:ext cx="11233150"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12" name="Fußzeilenplatzhalter 11">
            <a:extLst>
              <a:ext uri="{FF2B5EF4-FFF2-40B4-BE49-F238E27FC236}">
                <a16:creationId xmlns:a16="http://schemas.microsoft.com/office/drawing/2014/main" id="{4226A5F4-F737-57C6-E790-CCFEFE87C842}"/>
              </a:ext>
            </a:extLst>
          </p:cNvPr>
          <p:cNvSpPr>
            <a:spLocks noGrp="1"/>
          </p:cNvSpPr>
          <p:nvPr>
            <p:ph type="ftr" sz="quarter" idx="10"/>
          </p:nvPr>
        </p:nvSpPr>
        <p:spPr/>
        <p:txBody>
          <a:bodyPr/>
          <a:lstStyle/>
          <a:p>
            <a:r>
              <a:rPr lang="de-DE" dirty="0"/>
              <a:t>© msg digital | Titel einfügen | 2024</a:t>
            </a:r>
          </a:p>
        </p:txBody>
      </p:sp>
      <p:sp>
        <p:nvSpPr>
          <p:cNvPr id="13" name="Foliennummernplatzhalter 12">
            <a:extLst>
              <a:ext uri="{FF2B5EF4-FFF2-40B4-BE49-F238E27FC236}">
                <a16:creationId xmlns:a16="http://schemas.microsoft.com/office/drawing/2014/main" id="{3C65DAC5-B1D8-E9B2-BEBD-EB9362108BC7}"/>
              </a:ext>
            </a:extLst>
          </p:cNvPr>
          <p:cNvSpPr>
            <a:spLocks noGrp="1"/>
          </p:cNvSpPr>
          <p:nvPr>
            <p:ph type="sldNum" sz="quarter" idx="11"/>
          </p:nvPr>
        </p:nvSpPr>
        <p:spPr/>
        <p:txBody>
          <a:bodyPr/>
          <a:lstStyle/>
          <a:p>
            <a:fld id="{1FBD72F1-A42A-46B0-A7F8-CE6A9835826C}" type="slidenum">
              <a:rPr lang="de-DE" smtClean="0"/>
              <a:pPr/>
              <a:t>14</a:t>
            </a:fld>
            <a:endParaRPr lang="de-DE" dirty="0"/>
          </a:p>
        </p:txBody>
      </p:sp>
    </p:spTree>
    <p:extLst>
      <p:ext uri="{BB962C8B-B14F-4D97-AF65-F5344CB8AC3E}">
        <p14:creationId xmlns:p14="http://schemas.microsoft.com/office/powerpoint/2010/main" val="3278165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317777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idx="1"/>
          </p:nvPr>
        </p:nvSpPr>
        <p:spPr/>
        <p:txBody>
          <a:bodyPr/>
          <a:lstStyle/>
          <a:p>
            <a:r>
              <a:rPr lang="de-DE" dirty="0"/>
              <a:t>Lorem ipsum dolor sit amet, consetetur sadipscing elitr, sed diam nonumy eirmod </a:t>
            </a:r>
            <a:br>
              <a:rPr lang="de-DE" dirty="0"/>
            </a:br>
            <a:r>
              <a:rPr lang="de-DE" dirty="0"/>
              <a:t>tempor invidunt ut labore et dolore magna aliquyam erat, sed diam voluptua. </a:t>
            </a:r>
            <a:br>
              <a:rPr lang="de-DE" dirty="0"/>
            </a:br>
            <a:r>
              <a:rPr lang="de-DE" dirty="0"/>
              <a:t>At vero eos et accusam et justo duo dolores et ea rebum. 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7" name="Fußzeilenplatzhalter 6">
            <a:extLst>
              <a:ext uri="{FF2B5EF4-FFF2-40B4-BE49-F238E27FC236}">
                <a16:creationId xmlns:a16="http://schemas.microsoft.com/office/drawing/2014/main" id="{751B2024-E0E4-04B4-E3FE-DCEB1994D0E3}"/>
              </a:ext>
            </a:extLst>
          </p:cNvPr>
          <p:cNvSpPr>
            <a:spLocks noGrp="1"/>
          </p:cNvSpPr>
          <p:nvPr>
            <p:ph type="ftr" sz="quarter" idx="10"/>
          </p:nvPr>
        </p:nvSpPr>
        <p:spPr/>
        <p:txBody>
          <a:bodyPr/>
          <a:lstStyle/>
          <a:p>
            <a:r>
              <a:rPr lang="de-DE" dirty="0"/>
              <a:t>© msg digital | Titel einfügen | 2024</a:t>
            </a:r>
          </a:p>
        </p:txBody>
      </p:sp>
      <p:sp>
        <p:nvSpPr>
          <p:cNvPr id="8" name="Foliennummernplatzhalter 7">
            <a:extLst>
              <a:ext uri="{FF2B5EF4-FFF2-40B4-BE49-F238E27FC236}">
                <a16:creationId xmlns:a16="http://schemas.microsoft.com/office/drawing/2014/main" id="{612D62B9-B063-499F-F328-22875E0B51D0}"/>
              </a:ext>
            </a:extLst>
          </p:cNvPr>
          <p:cNvSpPr>
            <a:spLocks noGrp="1"/>
          </p:cNvSpPr>
          <p:nvPr>
            <p:ph type="sldNum" sz="quarter" idx="11"/>
          </p:nvPr>
        </p:nvSpPr>
        <p:spPr/>
        <p:txBody>
          <a:bodyPr/>
          <a:lstStyle/>
          <a:p>
            <a:fld id="{1FBD72F1-A42A-46B0-A7F8-CE6A9835826C}" type="slidenum">
              <a:rPr lang="de-DE" smtClean="0"/>
              <a:pPr/>
              <a:t>15</a:t>
            </a:fld>
            <a:endParaRPr lang="de-DE" dirty="0"/>
          </a:p>
        </p:txBody>
      </p:sp>
    </p:spTree>
    <p:extLst>
      <p:ext uri="{BB962C8B-B14F-4D97-AF65-F5344CB8AC3E}">
        <p14:creationId xmlns:p14="http://schemas.microsoft.com/office/powerpoint/2010/main" val="2010075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0514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a:xfrm>
            <a:off x="6420462" y="1773239"/>
            <a:ext cx="5436575" cy="4356100"/>
          </a:xfrm>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14" name="Fußzeilenplatzhalter 13">
            <a:extLst>
              <a:ext uri="{FF2B5EF4-FFF2-40B4-BE49-F238E27FC236}">
                <a16:creationId xmlns:a16="http://schemas.microsoft.com/office/drawing/2014/main" id="{BEB93A86-8A42-4A67-3E14-C0A2EB747963}"/>
              </a:ext>
            </a:extLst>
          </p:cNvPr>
          <p:cNvSpPr>
            <a:spLocks noGrp="1"/>
          </p:cNvSpPr>
          <p:nvPr>
            <p:ph type="ftr" sz="quarter" idx="10"/>
          </p:nvPr>
        </p:nvSpPr>
        <p:spPr/>
        <p:txBody>
          <a:bodyPr/>
          <a:lstStyle/>
          <a:p>
            <a:r>
              <a:rPr lang="de-DE" dirty="0"/>
              <a:t>© msg digital | Titel einfügen | 2024</a:t>
            </a:r>
          </a:p>
        </p:txBody>
      </p:sp>
      <p:sp>
        <p:nvSpPr>
          <p:cNvPr id="15" name="Foliennummernplatzhalter 14">
            <a:extLst>
              <a:ext uri="{FF2B5EF4-FFF2-40B4-BE49-F238E27FC236}">
                <a16:creationId xmlns:a16="http://schemas.microsoft.com/office/drawing/2014/main" id="{3F5D48FC-B2B1-862A-B076-9F96D851B668}"/>
              </a:ext>
            </a:extLst>
          </p:cNvPr>
          <p:cNvSpPr>
            <a:spLocks noGrp="1"/>
          </p:cNvSpPr>
          <p:nvPr>
            <p:ph type="sldNum" sz="quarter" idx="11"/>
          </p:nvPr>
        </p:nvSpPr>
        <p:spPr/>
        <p:txBody>
          <a:bodyPr/>
          <a:lstStyle/>
          <a:p>
            <a:fld id="{1FBD72F1-A42A-46B0-A7F8-CE6A9835826C}" type="slidenum">
              <a:rPr lang="de-DE" smtClean="0"/>
              <a:pPr/>
              <a:t>16</a:t>
            </a:fld>
            <a:endParaRPr lang="de-DE" dirty="0"/>
          </a:p>
        </p:txBody>
      </p:sp>
    </p:spTree>
    <p:extLst>
      <p:ext uri="{BB962C8B-B14F-4D97-AF65-F5344CB8AC3E}">
        <p14:creationId xmlns:p14="http://schemas.microsoft.com/office/powerpoint/2010/main" val="1790013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13180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5" name="Textplatzhalter 4">
            <a:extLst>
              <a:ext uri="{FF2B5EF4-FFF2-40B4-BE49-F238E27FC236}">
                <a16:creationId xmlns:a16="http://schemas.microsoft.com/office/drawing/2014/main" id="{8025AA18-0FDD-6FEC-F2A5-550B7C1FB7E0}"/>
              </a:ext>
            </a:extLst>
          </p:cNvPr>
          <p:cNvSpPr>
            <a:spLocks noGrp="1"/>
          </p:cNvSpPr>
          <p:nvPr>
            <p:ph type="body" sz="quarter" idx="14"/>
          </p:nvPr>
        </p:nvSpPr>
        <p:spPr/>
        <p:txBody>
          <a:bodyPr/>
          <a:lstStyle/>
          <a:p>
            <a:r>
              <a:rPr lang="de-DE" dirty="0"/>
              <a:t>Lorem ipsum dolor sit amet, consetetur sadipscing elitr, </a:t>
            </a:r>
            <a:br>
              <a:rPr lang="de-DE" dirty="0"/>
            </a:br>
            <a:r>
              <a:rPr lang="de-DE" dirty="0"/>
              <a:t>sed diam nonumy eirmod tempor invidunt ut labore et </a:t>
            </a:r>
            <a:br>
              <a:rPr lang="de-DE" dirty="0"/>
            </a:br>
            <a:r>
              <a:rPr lang="de-DE" dirty="0"/>
              <a:t>dolore magna aliquyam erat, sed diam voluptua. At vero </a:t>
            </a:r>
            <a:br>
              <a:rPr lang="de-DE" dirty="0"/>
            </a:br>
            <a:r>
              <a:rPr lang="de-DE" dirty="0"/>
              <a:t>eos et accusam et justo duo dolores et ea rebum. </a:t>
            </a:r>
            <a:br>
              <a:rPr lang="de-DE" dirty="0"/>
            </a:br>
            <a:r>
              <a:rPr lang="de-DE" dirty="0"/>
              <a:t>Stet clita kasd gubergren.</a:t>
            </a:r>
          </a:p>
          <a:p>
            <a:pPr lvl="1"/>
            <a:r>
              <a:rPr lang="de-DE" dirty="0"/>
              <a:t>Lorem ipsum dolor sit amet</a:t>
            </a:r>
          </a:p>
          <a:p>
            <a:pPr lvl="2"/>
            <a:r>
              <a:rPr lang="de-DE" dirty="0"/>
              <a:t>Consetetur sadipscing elitr</a:t>
            </a:r>
          </a:p>
          <a:p>
            <a:pPr lvl="3"/>
            <a:r>
              <a:rPr lang="de-DE" dirty="0"/>
              <a:t>Sed diam nonumy eirmod </a:t>
            </a:r>
          </a:p>
          <a:p>
            <a:pPr lvl="4"/>
            <a:r>
              <a:rPr lang="de-DE" dirty="0"/>
              <a:t>Tempor invidunt ut labore </a:t>
            </a:r>
          </a:p>
        </p:txBody>
      </p:sp>
      <p:sp>
        <p:nvSpPr>
          <p:cNvPr id="8" name="Fußzeilenplatzhalter 7">
            <a:extLst>
              <a:ext uri="{FF2B5EF4-FFF2-40B4-BE49-F238E27FC236}">
                <a16:creationId xmlns:a16="http://schemas.microsoft.com/office/drawing/2014/main" id="{44C4AAD1-6DD8-12C8-AB6D-5B7CA2D2806D}"/>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32C8ED2F-02B4-0A5C-CCBC-CEF5A5DBABE6}"/>
              </a:ext>
            </a:extLst>
          </p:cNvPr>
          <p:cNvSpPr>
            <a:spLocks noGrp="1"/>
          </p:cNvSpPr>
          <p:nvPr>
            <p:ph type="sldNum" sz="quarter" idx="11"/>
          </p:nvPr>
        </p:nvSpPr>
        <p:spPr/>
        <p:txBody>
          <a:bodyPr/>
          <a:lstStyle/>
          <a:p>
            <a:fld id="{1FBD72F1-A42A-46B0-A7F8-CE6A9835826C}" type="slidenum">
              <a:rPr lang="de-DE" smtClean="0"/>
              <a:pPr/>
              <a:t>17</a:t>
            </a:fld>
            <a:endParaRPr lang="de-DE" dirty="0"/>
          </a:p>
        </p:txBody>
      </p:sp>
    </p:spTree>
    <p:extLst>
      <p:ext uri="{BB962C8B-B14F-4D97-AF65-F5344CB8AC3E}">
        <p14:creationId xmlns:p14="http://schemas.microsoft.com/office/powerpoint/2010/main" val="1013607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344128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a:xfrm>
            <a:off x="623889"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a:xfrm>
            <a:off x="4488271"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a:xfrm>
            <a:off x="8352654" y="1773239"/>
            <a:ext cx="3504383" cy="4356100"/>
          </a:xfrm>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15" name="Fußzeilenplatzhalter 14">
            <a:extLst>
              <a:ext uri="{FF2B5EF4-FFF2-40B4-BE49-F238E27FC236}">
                <a16:creationId xmlns:a16="http://schemas.microsoft.com/office/drawing/2014/main" id="{AA356167-661B-6418-F7B3-BE9B8B2CDAEF}"/>
              </a:ext>
            </a:extLst>
          </p:cNvPr>
          <p:cNvSpPr>
            <a:spLocks noGrp="1"/>
          </p:cNvSpPr>
          <p:nvPr>
            <p:ph type="ftr" sz="quarter" idx="10"/>
          </p:nvPr>
        </p:nvSpPr>
        <p:spPr/>
        <p:txBody>
          <a:bodyPr/>
          <a:lstStyle/>
          <a:p>
            <a:r>
              <a:rPr lang="de-DE" dirty="0"/>
              <a:t>© msg digital | Titel einfügen | 2024</a:t>
            </a:r>
          </a:p>
        </p:txBody>
      </p:sp>
      <p:sp>
        <p:nvSpPr>
          <p:cNvPr id="16" name="Foliennummernplatzhalter 15">
            <a:extLst>
              <a:ext uri="{FF2B5EF4-FFF2-40B4-BE49-F238E27FC236}">
                <a16:creationId xmlns:a16="http://schemas.microsoft.com/office/drawing/2014/main" id="{69E03B08-8AE0-6100-EA56-0FD555B12C4F}"/>
              </a:ext>
            </a:extLst>
          </p:cNvPr>
          <p:cNvSpPr>
            <a:spLocks noGrp="1"/>
          </p:cNvSpPr>
          <p:nvPr>
            <p:ph type="sldNum" sz="quarter" idx="11"/>
          </p:nvPr>
        </p:nvSpPr>
        <p:spPr/>
        <p:txBody>
          <a:bodyPr/>
          <a:lstStyle/>
          <a:p>
            <a:fld id="{1FBD72F1-A42A-46B0-A7F8-CE6A9835826C}" type="slidenum">
              <a:rPr lang="de-DE" smtClean="0"/>
              <a:pPr/>
              <a:t>18</a:t>
            </a:fld>
            <a:endParaRPr lang="de-DE" dirty="0"/>
          </a:p>
        </p:txBody>
      </p:sp>
    </p:spTree>
    <p:extLst>
      <p:ext uri="{BB962C8B-B14F-4D97-AF65-F5344CB8AC3E}">
        <p14:creationId xmlns:p14="http://schemas.microsoft.com/office/powerpoint/2010/main" val="1078858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8827C8-CC3E-E775-0A85-6B284B303859}"/>
              </a:ext>
            </a:extLst>
          </p:cNvPr>
          <p:cNvGraphicFramePr>
            <a:graphicFrameLocks noChangeAspect="1"/>
          </p:cNvGraphicFramePr>
          <p:nvPr>
            <p:custDataLst>
              <p:tags r:id="rId1"/>
            </p:custDataLst>
            <p:extLst>
              <p:ext uri="{D42A27DB-BD31-4B8C-83A1-F6EECF244321}">
                <p14:modId xmlns:p14="http://schemas.microsoft.com/office/powerpoint/2010/main" val="147684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think-cell data - do not delete" hidden="1">
                        <a:extLst>
                          <a:ext uri="{FF2B5EF4-FFF2-40B4-BE49-F238E27FC236}">
                            <a16:creationId xmlns:a16="http://schemas.microsoft.com/office/drawing/2014/main" id="{F18827C8-CC3E-E775-0A85-6B284B3038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78D1D3C-8D83-F078-87A0-EC072FCCBC45}"/>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Textplatzhalter 2">
            <a:extLst>
              <a:ext uri="{FF2B5EF4-FFF2-40B4-BE49-F238E27FC236}">
                <a16:creationId xmlns:a16="http://schemas.microsoft.com/office/drawing/2014/main" id="{5E607161-EA22-B60D-765C-1BFBD8BA23AF}"/>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4" name="Textplatzhalter 3">
            <a:extLst>
              <a:ext uri="{FF2B5EF4-FFF2-40B4-BE49-F238E27FC236}">
                <a16:creationId xmlns:a16="http://schemas.microsoft.com/office/drawing/2014/main" id="{D02E54EC-86A9-22D2-893E-D95D8984E3A6}"/>
              </a:ext>
            </a:extLst>
          </p:cNvPr>
          <p:cNvSpPr>
            <a:spLocks noGrp="1"/>
          </p:cNvSpPr>
          <p:nvPr>
            <p:ph type="body" sz="quarter" idx="13"/>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5" name="Textplatzhalter 4">
            <a:extLst>
              <a:ext uri="{FF2B5EF4-FFF2-40B4-BE49-F238E27FC236}">
                <a16:creationId xmlns:a16="http://schemas.microsoft.com/office/drawing/2014/main" id="{1DC315E4-36F7-C97C-DBD8-5434F33A6E12}"/>
              </a:ext>
            </a:extLst>
          </p:cNvPr>
          <p:cNvSpPr>
            <a:spLocks noGrp="1"/>
          </p:cNvSpPr>
          <p:nvPr>
            <p:ph type="body" sz="quarter" idx="14"/>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6" name="Textplatzhalter 5">
            <a:extLst>
              <a:ext uri="{FF2B5EF4-FFF2-40B4-BE49-F238E27FC236}">
                <a16:creationId xmlns:a16="http://schemas.microsoft.com/office/drawing/2014/main" id="{66A4AAB8-B0F5-33CE-54ED-292DAB3C1923}"/>
              </a:ext>
            </a:extLst>
          </p:cNvPr>
          <p:cNvSpPr>
            <a:spLocks noGrp="1"/>
          </p:cNvSpPr>
          <p:nvPr>
            <p:ph type="body" sz="quarter" idx="15"/>
          </p:nvPr>
        </p:nvSpPr>
        <p:spPr/>
        <p:txBody>
          <a:bodyPr/>
          <a:lstStyle/>
          <a:p>
            <a:r>
              <a:rPr lang="de-DE" b="1" dirty="0"/>
              <a:t>Consetetur sadipscing elitr, sed </a:t>
            </a:r>
            <a:br>
              <a:rPr lang="de-DE" b="1" dirty="0"/>
            </a:br>
            <a:r>
              <a:rPr lang="de-DE" b="1" dirty="0"/>
              <a:t>diam nonumy eirmod tempor</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a:t>
            </a:r>
          </a:p>
        </p:txBody>
      </p:sp>
      <p:sp>
        <p:nvSpPr>
          <p:cNvPr id="9" name="Fußzeilenplatzhalter 8">
            <a:extLst>
              <a:ext uri="{FF2B5EF4-FFF2-40B4-BE49-F238E27FC236}">
                <a16:creationId xmlns:a16="http://schemas.microsoft.com/office/drawing/2014/main" id="{6B9AEA6D-A727-700E-0C85-39D4155A71D5}"/>
              </a:ext>
            </a:extLst>
          </p:cNvPr>
          <p:cNvSpPr>
            <a:spLocks noGrp="1"/>
          </p:cNvSpPr>
          <p:nvPr>
            <p:ph type="ftr" sz="quarter" idx="10"/>
          </p:nvPr>
        </p:nvSpPr>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E091684B-A803-4339-BE19-A31114958C77}"/>
              </a:ext>
            </a:extLst>
          </p:cNvPr>
          <p:cNvSpPr>
            <a:spLocks noGrp="1"/>
          </p:cNvSpPr>
          <p:nvPr>
            <p:ph type="sldNum" sz="quarter" idx="11"/>
          </p:nvPr>
        </p:nvSpPr>
        <p:spPr/>
        <p:txBody>
          <a:bodyPr/>
          <a:lstStyle/>
          <a:p>
            <a:fld id="{1FBD72F1-A42A-46B0-A7F8-CE6A9835826C}" type="slidenum">
              <a:rPr lang="de-DE" smtClean="0"/>
              <a:pPr/>
              <a:t>19</a:t>
            </a:fld>
            <a:endParaRPr lang="de-DE" dirty="0"/>
          </a:p>
        </p:txBody>
      </p:sp>
    </p:spTree>
    <p:extLst>
      <p:ext uri="{BB962C8B-B14F-4D97-AF65-F5344CB8AC3E}">
        <p14:creationId xmlns:p14="http://schemas.microsoft.com/office/powerpoint/2010/main" val="3393641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4D973-1EC7-E952-4686-4410FBE01F10}"/>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2AEC962-8DAD-8BCD-7A51-07A80D7856E6}"/>
              </a:ext>
            </a:extLst>
          </p:cNvPr>
          <p:cNvSpPr>
            <a:spLocks noGrp="1"/>
          </p:cNvSpPr>
          <p:nvPr>
            <p:ph idx="1"/>
          </p:nvPr>
        </p:nvSpPr>
        <p:spPr/>
        <p:txBody>
          <a:bodyPr/>
          <a:lstStyle/>
          <a:p>
            <a:endParaRPr lang="de-DE"/>
          </a:p>
        </p:txBody>
      </p:sp>
      <p:sp>
        <p:nvSpPr>
          <p:cNvPr id="4" name="Fußzeilenplatzhalter 3">
            <a:extLst>
              <a:ext uri="{FF2B5EF4-FFF2-40B4-BE49-F238E27FC236}">
                <a16:creationId xmlns:a16="http://schemas.microsoft.com/office/drawing/2014/main" id="{FD00AD58-0BE8-1D88-D0D2-E339A66F07D3}"/>
              </a:ext>
            </a:extLst>
          </p:cNvPr>
          <p:cNvSpPr>
            <a:spLocks noGrp="1"/>
          </p:cNvSpPr>
          <p:nvPr>
            <p:ph type="ftr" sz="quarter" idx="10"/>
          </p:nvPr>
        </p:nvSpPr>
        <p:spPr/>
        <p:txBody>
          <a:bodyPr/>
          <a:lstStyle/>
          <a:p>
            <a:r>
              <a:rPr lang="de-DE"/>
              <a:t>© msg digital | Titel einfügen | 2024</a:t>
            </a:r>
            <a:endParaRPr lang="de-DE" dirty="0"/>
          </a:p>
        </p:txBody>
      </p:sp>
      <p:sp>
        <p:nvSpPr>
          <p:cNvPr id="5" name="Foliennummernplatzhalter 4">
            <a:extLst>
              <a:ext uri="{FF2B5EF4-FFF2-40B4-BE49-F238E27FC236}">
                <a16:creationId xmlns:a16="http://schemas.microsoft.com/office/drawing/2014/main" id="{740955EF-DEC8-991E-2090-355C7D1150CC}"/>
              </a:ext>
            </a:extLst>
          </p:cNvPr>
          <p:cNvSpPr>
            <a:spLocks noGrp="1"/>
          </p:cNvSpPr>
          <p:nvPr>
            <p:ph type="sldNum" sz="quarter" idx="11"/>
          </p:nvPr>
        </p:nvSpPr>
        <p:spPr/>
        <p:txBody>
          <a:bodyPr/>
          <a:lstStyle/>
          <a:p>
            <a:fld id="{1FBD72F1-A42A-46B0-A7F8-CE6A9835826C}" type="slidenum">
              <a:rPr lang="de-DE" smtClean="0"/>
              <a:pPr/>
              <a:t>2</a:t>
            </a:fld>
            <a:endParaRPr lang="de-DE" dirty="0"/>
          </a:p>
        </p:txBody>
      </p:sp>
      <p:sp>
        <p:nvSpPr>
          <p:cNvPr id="6" name="Textplatzhalter 5">
            <a:extLst>
              <a:ext uri="{FF2B5EF4-FFF2-40B4-BE49-F238E27FC236}">
                <a16:creationId xmlns:a16="http://schemas.microsoft.com/office/drawing/2014/main" id="{414700E3-DDB5-1F04-2F53-8B919208B572}"/>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949430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413758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75E91148-E375-1970-A865-E5EB435E5C7F}"/>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28B89D02-98F3-35C3-2622-8EA17A59578F}"/>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FDBE3346-0AC7-322D-1512-72E44407E8EF}"/>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0</a:t>
            </a:fld>
            <a:endParaRPr lang="de-DE" dirty="0">
              <a:solidFill>
                <a:schemeClr val="bg1"/>
              </a:solidFill>
            </a:endParaRPr>
          </a:p>
        </p:txBody>
      </p:sp>
    </p:spTree>
    <p:extLst>
      <p:ext uri="{BB962C8B-B14F-4D97-AF65-F5344CB8AC3E}">
        <p14:creationId xmlns:p14="http://schemas.microsoft.com/office/powerpoint/2010/main" val="2335678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9336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4847546"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4848225"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4847546" y="1773239"/>
            <a:ext cx="7009492" cy="4356100"/>
          </a:xfrm>
        </p:spPr>
        <p:txBody>
          <a:bodyPr/>
          <a:lstStyle/>
          <a:p>
            <a:r>
              <a:rPr lang="de-DE" dirty="0"/>
              <a:t>Lorem ipsum dolor sit amet, consetetur sadipscing elitr, sed diam nonumy eirmod </a:t>
            </a:r>
            <a:br>
              <a:rPr lang="de-DE" dirty="0"/>
            </a:br>
            <a:r>
              <a:rPr lang="de-DE" dirty="0"/>
              <a:t>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pic>
        <p:nvPicPr>
          <p:cNvPr id="12" name="Bildplatzhalter 10">
            <a:extLst>
              <a:ext uri="{FF2B5EF4-FFF2-40B4-BE49-F238E27FC236}">
                <a16:creationId xmlns:a16="http://schemas.microsoft.com/office/drawing/2014/main" id="{F5CC8FDA-2109-7272-0EDC-432A1D67B225}"/>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9537" r="29537"/>
          <a:stretch/>
        </p:blipFill>
        <p:spPr>
          <a:xfrm>
            <a:off x="0" y="1"/>
            <a:ext cx="4204485" cy="6857999"/>
          </a:xfrm>
        </p:spPr>
      </p:pic>
      <p:sp>
        <p:nvSpPr>
          <p:cNvPr id="9" name="Fußzeilenplatzhalter 8">
            <a:extLst>
              <a:ext uri="{FF2B5EF4-FFF2-40B4-BE49-F238E27FC236}">
                <a16:creationId xmlns:a16="http://schemas.microsoft.com/office/drawing/2014/main" id="{9156FB2E-2006-63B8-EE93-E2ADFB8678D3}"/>
              </a:ext>
            </a:extLst>
          </p:cNvPr>
          <p:cNvSpPr>
            <a:spLocks noGrp="1"/>
          </p:cNvSpPr>
          <p:nvPr>
            <p:ph type="ftr" sz="quarter" idx="10"/>
          </p:nvPr>
        </p:nvSpPr>
        <p:spPr>
          <a:xfrm>
            <a:off x="4847546" y="6443762"/>
            <a:ext cx="4924425"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DFF91153-F88C-0DCB-148B-B0A5C7220903}"/>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bg1"/>
                </a:solidFill>
              </a:rPr>
              <a:pPr/>
              <a:t>21</a:t>
            </a:fld>
            <a:endParaRPr lang="de-DE" dirty="0">
              <a:solidFill>
                <a:schemeClr val="bg1"/>
              </a:solidFill>
            </a:endParaRPr>
          </a:p>
        </p:txBody>
      </p:sp>
    </p:spTree>
    <p:extLst>
      <p:ext uri="{BB962C8B-B14F-4D97-AF65-F5344CB8AC3E}">
        <p14:creationId xmlns:p14="http://schemas.microsoft.com/office/powerpoint/2010/main" val="24726570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193308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Bildplatzhalter 10">
            <a:extLst>
              <a:ext uri="{FF2B5EF4-FFF2-40B4-BE49-F238E27FC236}">
                <a16:creationId xmlns:a16="http://schemas.microsoft.com/office/drawing/2014/main" id="{F9F195C5-CED0-4860-3BDE-E9E023C8664C}"/>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b="1" dirty="0"/>
              <a:t>fett geschrieben </a:t>
            </a:r>
            <a:r>
              <a:rPr lang="de-DE" dirty="0"/>
              <a:t>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38532964-3DCB-97C3-07BD-A9BC76F35423}"/>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72667D90-9DB2-2262-7FD7-4CE96E9AC8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2</a:t>
            </a:fld>
            <a:endParaRPr lang="de-DE" dirty="0"/>
          </a:p>
        </p:txBody>
      </p:sp>
    </p:spTree>
    <p:extLst>
      <p:ext uri="{BB962C8B-B14F-4D97-AF65-F5344CB8AC3E}">
        <p14:creationId xmlns:p14="http://schemas.microsoft.com/office/powerpoint/2010/main" val="189917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37117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a:extLst>
              <a:ext uri="{FF2B5EF4-FFF2-40B4-BE49-F238E27FC236}">
                <a16:creationId xmlns:a16="http://schemas.microsoft.com/office/drawing/2014/main" id="{490F6F86-0D7E-42A5-81C3-2E091FAE0D4B}"/>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l="20326" r="20326"/>
          <a:stretch/>
        </p:blipFill>
        <p:spPr>
          <a:xfrm>
            <a:off x="6095999" y="1"/>
            <a:ext cx="6096000" cy="685799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5071708" cy="738664"/>
          </a:xfrm>
        </p:spPr>
        <p:txBody>
          <a:bodyPr vert="horz"/>
          <a:lstStyle/>
          <a:p>
            <a:r>
              <a:rPr lang="de-DE" dirty="0"/>
              <a:t>Ich bin eine Headline, in der Begriffe </a:t>
            </a:r>
            <a:br>
              <a:rPr lang="de-DE" dirty="0"/>
            </a:br>
            <a:r>
              <a:rPr lang="de-DE" dirty="0"/>
              <a:t>fett geschrieben werden können.</a:t>
            </a:r>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8" y="1773239"/>
            <a:ext cx="5071708" cy="4356100"/>
          </a:xfrm>
        </p:spPr>
        <p:txBody>
          <a:bodyPr/>
          <a:lstStyle/>
          <a:p>
            <a:r>
              <a:rPr lang="de-DE" dirty="0"/>
              <a:t>Lorem ipsum dolor sit amet, consetetur sadipscing elitr, sed diam nonumy eirmod tempor invidunt ut labore et dolore magna aliquyam erat, sed diam voluptua.</a:t>
            </a:r>
          </a:p>
          <a:p>
            <a:pPr lvl="1"/>
            <a:r>
              <a:rPr lang="de-DE" dirty="0"/>
              <a:t>Lorem ipsum dolor sit amet</a:t>
            </a:r>
          </a:p>
          <a:p>
            <a:pPr lvl="1"/>
            <a:r>
              <a:rPr lang="de-DE" dirty="0"/>
              <a:t>Consetetur sadipscing elitr</a:t>
            </a:r>
          </a:p>
          <a:p>
            <a:pPr lvl="1"/>
            <a:r>
              <a:rPr lang="de-DE" b="1" dirty="0"/>
              <a:t>Sed diam nonumy eirmod </a:t>
            </a:r>
          </a:p>
          <a:p>
            <a:pPr lvl="1"/>
            <a:r>
              <a:rPr lang="de-DE" dirty="0"/>
              <a:t>Tempor invidunt ut labore </a:t>
            </a:r>
          </a:p>
        </p:txBody>
      </p:sp>
      <p:sp>
        <p:nvSpPr>
          <p:cNvPr id="9" name="Fußzeilenplatzhalter 8">
            <a:extLst>
              <a:ext uri="{FF2B5EF4-FFF2-40B4-BE49-F238E27FC236}">
                <a16:creationId xmlns:a16="http://schemas.microsoft.com/office/drawing/2014/main" id="{4C5A4ACC-3FED-53DA-55D5-39816507699D}"/>
              </a:ext>
            </a:extLst>
          </p:cNvPr>
          <p:cNvSpPr>
            <a:spLocks noGrp="1"/>
          </p:cNvSpPr>
          <p:nvPr>
            <p:ph type="ftr" sz="quarter" idx="10"/>
          </p:nvPr>
        </p:nvSpPr>
        <p:spPr>
          <a:xfrm>
            <a:off x="1171575" y="6443762"/>
            <a:ext cx="4524022" cy="153888"/>
          </a:xfrm>
        </p:spPr>
        <p:txBody>
          <a:bodyPr/>
          <a:lstStyle/>
          <a:p>
            <a:r>
              <a:rPr lang="de-DE" dirty="0"/>
              <a:t>© msg digital | Titel einfügen | 2024</a:t>
            </a:r>
          </a:p>
        </p:txBody>
      </p:sp>
      <p:sp>
        <p:nvSpPr>
          <p:cNvPr id="10" name="Foliennummernplatzhalter 9">
            <a:extLst>
              <a:ext uri="{FF2B5EF4-FFF2-40B4-BE49-F238E27FC236}">
                <a16:creationId xmlns:a16="http://schemas.microsoft.com/office/drawing/2014/main" id="{BFD4E62B-EC86-CC29-AFDD-E80FF879F7D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3</a:t>
            </a:fld>
            <a:endParaRPr lang="de-DE" dirty="0"/>
          </a:p>
        </p:txBody>
      </p:sp>
    </p:spTree>
    <p:extLst>
      <p:ext uri="{BB962C8B-B14F-4D97-AF65-F5344CB8AC3E}">
        <p14:creationId xmlns:p14="http://schemas.microsoft.com/office/powerpoint/2010/main" val="1914076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128024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Bildplatzhalter 10">
            <a:extLst>
              <a:ext uri="{FF2B5EF4-FFF2-40B4-BE49-F238E27FC236}">
                <a16:creationId xmlns:a16="http://schemas.microsoft.com/office/drawing/2014/main" id="{0D412181-B336-9BC3-1A6D-FE1019D4DD2C}"/>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b="1" dirty="0"/>
            </a:br>
            <a:r>
              <a:rPr lang="de-DE" dirty="0"/>
              <a:t>Headline.</a:t>
            </a:r>
          </a:p>
        </p:txBody>
      </p:sp>
      <p:sp>
        <p:nvSpPr>
          <p:cNvPr id="13" name="Fußzeilenplatzhalter 12">
            <a:extLst>
              <a:ext uri="{FF2B5EF4-FFF2-40B4-BE49-F238E27FC236}">
                <a16:creationId xmlns:a16="http://schemas.microsoft.com/office/drawing/2014/main" id="{BBEDB226-2EEF-F523-FC6F-70A0804E0C79}"/>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1F9D773D-EC47-494C-403F-403030A11732}"/>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4</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17" name="Bildplatzhalter 10">
            <a:extLst>
              <a:ext uri="{FF2B5EF4-FFF2-40B4-BE49-F238E27FC236}">
                <a16:creationId xmlns:a16="http://schemas.microsoft.com/office/drawing/2014/main" id="{C85CC2ED-829C-04CE-94A5-6556DF78840F}"/>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25087871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EB14D2-F632-8263-76A0-CC2280933168}"/>
              </a:ext>
            </a:extLst>
          </p:cNvPr>
          <p:cNvGraphicFramePr>
            <a:graphicFrameLocks noChangeAspect="1"/>
          </p:cNvGraphicFramePr>
          <p:nvPr>
            <p:custDataLst>
              <p:tags r:id="rId1"/>
            </p:custDataLst>
            <p:extLst>
              <p:ext uri="{D42A27DB-BD31-4B8C-83A1-F6EECF244321}">
                <p14:modId xmlns:p14="http://schemas.microsoft.com/office/powerpoint/2010/main" val="25970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E0EB14D2-F632-8263-76A0-CC2280933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Bildplatzhalter 10">
            <a:extLst>
              <a:ext uri="{FF2B5EF4-FFF2-40B4-BE49-F238E27FC236}">
                <a16:creationId xmlns:a16="http://schemas.microsoft.com/office/drawing/2014/main" id="{9E440570-C373-3997-22B1-5BA1BCA252BA}"/>
              </a:ext>
            </a:extLst>
          </p:cNvPr>
          <p:cNvPicPr>
            <a:picLocks noGrp="1" noChangeAspect="1"/>
          </p:cNvPicPr>
          <p:nvPr>
            <p:ph type="pic" sz="quarter" idx="17"/>
          </p:nvPr>
        </p:nvPicPr>
        <p:blipFill rotWithShape="1">
          <a:blip r:embed="rId6" cstate="screen">
            <a:extLst>
              <a:ext uri="{28A0092B-C50C-407E-A947-70E740481C1C}">
                <a14:useLocalDpi xmlns:a14="http://schemas.microsoft.com/office/drawing/2010/main"/>
              </a:ext>
            </a:extLst>
          </a:blip>
          <a:srcRect t="2801" b="2801"/>
          <a:stretch/>
        </p:blipFill>
        <p:spPr>
          <a:xfrm>
            <a:off x="8352653" y="1362075"/>
            <a:ext cx="3504384" cy="2208439"/>
          </a:xfrm>
        </p:spPr>
      </p:pic>
      <p:sp>
        <p:nvSpPr>
          <p:cNvPr id="2" name="Titel 1">
            <a:extLst>
              <a:ext uri="{FF2B5EF4-FFF2-40B4-BE49-F238E27FC236}">
                <a16:creationId xmlns:a16="http://schemas.microsoft.com/office/drawing/2014/main" id="{77AABF2C-B448-8464-23A0-6B219C365711}"/>
              </a:ext>
            </a:extLst>
          </p:cNvPr>
          <p:cNvSpPr>
            <a:spLocks noGrp="1"/>
          </p:cNvSpPr>
          <p:nvPr>
            <p:ph type="title"/>
          </p:nvPr>
        </p:nvSpPr>
        <p:spPr>
          <a:xfrm>
            <a:off x="623888" y="620713"/>
            <a:ext cx="3504384" cy="2949801"/>
          </a:xfrm>
        </p:spPr>
        <p:txBody>
          <a:bodyPr vert="horz"/>
          <a:lstStyle/>
          <a:p>
            <a:r>
              <a:rPr lang="de-DE" dirty="0"/>
              <a:t>Ich bin eine</a:t>
            </a:r>
            <a:br>
              <a:rPr lang="de-DE" dirty="0"/>
            </a:br>
            <a:r>
              <a:rPr lang="de-DE" b="1" dirty="0"/>
              <a:t>etwas längere</a:t>
            </a:r>
            <a:br>
              <a:rPr lang="de-DE" dirty="0"/>
            </a:br>
            <a:r>
              <a:rPr lang="de-DE" dirty="0"/>
              <a:t>Headline.</a:t>
            </a:r>
          </a:p>
        </p:txBody>
      </p:sp>
      <p:sp>
        <p:nvSpPr>
          <p:cNvPr id="20" name="Fußzeilenplatzhalter 19">
            <a:extLst>
              <a:ext uri="{FF2B5EF4-FFF2-40B4-BE49-F238E27FC236}">
                <a16:creationId xmlns:a16="http://schemas.microsoft.com/office/drawing/2014/main" id="{2D9225BE-5079-E8E2-5975-36D82476C87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21" name="Foliennummernplatzhalter 20">
            <a:extLst>
              <a:ext uri="{FF2B5EF4-FFF2-40B4-BE49-F238E27FC236}">
                <a16:creationId xmlns:a16="http://schemas.microsoft.com/office/drawing/2014/main" id="{FB5F3A37-E57D-2DE8-2E2D-154663B2682A}"/>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5</a:t>
            </a:fld>
            <a:endParaRPr lang="de-DE" dirty="0"/>
          </a:p>
        </p:txBody>
      </p:sp>
      <p:sp>
        <p:nvSpPr>
          <p:cNvPr id="4" name="Textplatzhalter 3">
            <a:extLst>
              <a:ext uri="{FF2B5EF4-FFF2-40B4-BE49-F238E27FC236}">
                <a16:creationId xmlns:a16="http://schemas.microsoft.com/office/drawing/2014/main" id="{92530FE7-8551-D523-C35E-3213A1835932}"/>
              </a:ext>
            </a:extLst>
          </p:cNvPr>
          <p:cNvSpPr>
            <a:spLocks noGrp="1"/>
          </p:cNvSpPr>
          <p:nvPr>
            <p:ph type="body" sz="quarter" idx="12"/>
          </p:nvPr>
        </p:nvSpPr>
        <p:spPr>
          <a:xfrm>
            <a:off x="623888" y="296523"/>
            <a:ext cx="1267508" cy="241980"/>
          </a:xfrm>
        </p:spPr>
        <p:txBody>
          <a:bodyPr/>
          <a:lstStyle/>
          <a:p>
            <a:r>
              <a:rPr lang="de-DE" dirty="0"/>
              <a:t>Optionaler Subtitle</a:t>
            </a:r>
          </a:p>
        </p:txBody>
      </p:sp>
      <p:sp>
        <p:nvSpPr>
          <p:cNvPr id="3" name="Inhaltsplatzhalter 2">
            <a:extLst>
              <a:ext uri="{FF2B5EF4-FFF2-40B4-BE49-F238E27FC236}">
                <a16:creationId xmlns:a16="http://schemas.microsoft.com/office/drawing/2014/main" id="{BE1DC819-AB26-BB20-3EFB-1ADE4581CBE4}"/>
              </a:ext>
            </a:extLst>
          </p:cNvPr>
          <p:cNvSpPr>
            <a:spLocks noGrp="1"/>
          </p:cNvSpPr>
          <p:nvPr>
            <p:ph type="body" sz="quarter" idx="13"/>
          </p:nvPr>
        </p:nvSpPr>
        <p:spPr>
          <a:xfrm>
            <a:off x="623889"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5" name="Textplatzhalter 4">
            <a:extLst>
              <a:ext uri="{FF2B5EF4-FFF2-40B4-BE49-F238E27FC236}">
                <a16:creationId xmlns:a16="http://schemas.microsoft.com/office/drawing/2014/main" id="{ADF1B8A0-5ABE-5BD6-2C0E-F4B04D47B514}"/>
              </a:ext>
            </a:extLst>
          </p:cNvPr>
          <p:cNvSpPr>
            <a:spLocks noGrp="1"/>
          </p:cNvSpPr>
          <p:nvPr>
            <p:ph type="body" sz="quarter" idx="14"/>
          </p:nvPr>
        </p:nvSpPr>
        <p:spPr>
          <a:xfrm>
            <a:off x="4488271"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sp>
        <p:nvSpPr>
          <p:cNvPr id="8" name="Textplatzhalter 7">
            <a:extLst>
              <a:ext uri="{FF2B5EF4-FFF2-40B4-BE49-F238E27FC236}">
                <a16:creationId xmlns:a16="http://schemas.microsoft.com/office/drawing/2014/main" id="{01C95E8B-1EEC-EBF1-679F-0B1993F1F9FF}"/>
              </a:ext>
            </a:extLst>
          </p:cNvPr>
          <p:cNvSpPr>
            <a:spLocks noGrp="1"/>
          </p:cNvSpPr>
          <p:nvPr>
            <p:ph type="body" sz="quarter" idx="15"/>
          </p:nvPr>
        </p:nvSpPr>
        <p:spPr>
          <a:xfrm>
            <a:off x="8352654" y="3875313"/>
            <a:ext cx="3504383" cy="2254024"/>
          </a:xfrm>
        </p:spPr>
        <p:txBody>
          <a:bodyPr/>
          <a:lstStyle/>
          <a:p>
            <a:r>
              <a:rPr lang="de-DE" dirty="0"/>
              <a:t>Consetetur sadipscing elitr sed</a:t>
            </a:r>
          </a:p>
          <a:p>
            <a:pPr lvl="1"/>
            <a:r>
              <a:rPr lang="de-DE" dirty="0"/>
              <a:t>Lorem ipsum dolor sit amet, consetetur sadipscing elitr, sed diam nonumy eirmod tempor invidunt ut labore et dolore magna aliquyam erat, sed diam voluptua.</a:t>
            </a:r>
          </a:p>
        </p:txBody>
      </p:sp>
      <p:pic>
        <p:nvPicPr>
          <p:cNvPr id="22" name="Bildplatzhalter 10">
            <a:extLst>
              <a:ext uri="{FF2B5EF4-FFF2-40B4-BE49-F238E27FC236}">
                <a16:creationId xmlns:a16="http://schemas.microsoft.com/office/drawing/2014/main" id="{1C0DE52A-27B3-10AC-3F16-EC32AC1969FC}"/>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a:ext>
            </a:extLst>
          </a:blip>
          <a:srcRect t="2823" b="2823"/>
          <a:stretch/>
        </p:blipFill>
        <p:spPr>
          <a:xfrm>
            <a:off x="4488270" y="1362075"/>
            <a:ext cx="3504384" cy="2208439"/>
          </a:xfrm>
        </p:spPr>
      </p:pic>
    </p:spTree>
    <p:extLst>
      <p:ext uri="{BB962C8B-B14F-4D97-AF65-F5344CB8AC3E}">
        <p14:creationId xmlns:p14="http://schemas.microsoft.com/office/powerpoint/2010/main" val="3489301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70308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5" name="Bildplatzhalter 10">
            <a:extLst>
              <a:ext uri="{FF2B5EF4-FFF2-40B4-BE49-F238E27FC236}">
                <a16:creationId xmlns:a16="http://schemas.microsoft.com/office/drawing/2014/main" id="{5AF709D2-1138-B964-7DEB-B41344990E3A}"/>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t="7876" b="7876"/>
          <a:stretch/>
        </p:blipFill>
        <p:spPr>
          <a:xfrm>
            <a:off x="2" y="1"/>
            <a:ext cx="12191999" cy="6857999"/>
          </a:xfrm>
        </p:spPr>
      </p:pic>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a:xfrm>
            <a:off x="623888" y="620713"/>
            <a:ext cx="5472112" cy="2605087"/>
          </a:xfrm>
        </p:spPr>
        <p:txBody>
          <a:bodyPr vert="horz"/>
          <a:lstStyle/>
          <a:p>
            <a:r>
              <a:rPr lang="de-DE" dirty="0"/>
              <a:t>Lorem ipsum dolor sit amet consetetur </a:t>
            </a:r>
            <a:r>
              <a:rPr lang="de-DE" b="1" dirty="0"/>
              <a:t>sadipscing elitr sed diam nonumy </a:t>
            </a:r>
            <a:r>
              <a:rPr lang="de-DE" dirty="0"/>
              <a:t>eirmod tempor invidunt ut labore et dolore magna. </a:t>
            </a:r>
          </a:p>
        </p:txBody>
      </p:sp>
      <p:sp>
        <p:nvSpPr>
          <p:cNvPr id="43" name="Fußzeilenplatzhalter 42">
            <a:extLst>
              <a:ext uri="{FF2B5EF4-FFF2-40B4-BE49-F238E27FC236}">
                <a16:creationId xmlns:a16="http://schemas.microsoft.com/office/drawing/2014/main" id="{DFAC43AC-FC5C-AA66-BCAF-A03BC0448EE4}"/>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4" name="Foliennummernplatzhalter 43">
            <a:extLst>
              <a:ext uri="{FF2B5EF4-FFF2-40B4-BE49-F238E27FC236}">
                <a16:creationId xmlns:a16="http://schemas.microsoft.com/office/drawing/2014/main" id="{A6F081FA-E976-9045-1591-9865DD19269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26</a:t>
            </a:fld>
            <a:endParaRPr lang="de-DE" dirty="0"/>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876300" y="873207"/>
            <a:ext cx="1770788" cy="318924"/>
          </a:xfrm>
        </p:spPr>
        <p:txBody>
          <a:bodyPr/>
          <a:lstStyle/>
          <a:p>
            <a:r>
              <a:rPr lang="de-DE" dirty="0"/>
              <a:t>Optionaler Subtitle</a:t>
            </a:r>
          </a:p>
        </p:txBody>
      </p:sp>
    </p:spTree>
    <p:extLst>
      <p:ext uri="{BB962C8B-B14F-4D97-AF65-F5344CB8AC3E}">
        <p14:creationId xmlns:p14="http://schemas.microsoft.com/office/powerpoint/2010/main" val="3696705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114948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1523774"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8CA96C0C-3423-4B54-EE51-4A48EB9E26F2}"/>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DC7914CA-6E33-3920-F527-65285A36ABE7}"/>
              </a:ext>
            </a:extLst>
          </p:cNvPr>
          <p:cNvSpPr>
            <a:spLocks noGrp="1"/>
          </p:cNvSpPr>
          <p:nvPr>
            <p:ph type="sldNum" sz="quarter" idx="11"/>
          </p:nvPr>
        </p:nvSpPr>
        <p:spPr/>
        <p:txBody>
          <a:bodyPr/>
          <a:lstStyle/>
          <a:p>
            <a:fld id="{1FBD72F1-A42A-46B0-A7F8-CE6A9835826C}" type="slidenum">
              <a:rPr lang="de-DE" smtClean="0"/>
              <a:pPr/>
              <a:t>27</a:t>
            </a:fld>
            <a:endParaRPr lang="de-DE" dirty="0"/>
          </a:p>
        </p:txBody>
      </p:sp>
    </p:spTree>
    <p:extLst>
      <p:ext uri="{BB962C8B-B14F-4D97-AF65-F5344CB8AC3E}">
        <p14:creationId xmlns:p14="http://schemas.microsoft.com/office/powerpoint/2010/main" val="213856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599FF7F-C2DF-F11B-F800-35FD9DD66653}"/>
              </a:ext>
            </a:extLst>
          </p:cNvPr>
          <p:cNvGraphicFramePr>
            <a:graphicFrameLocks noChangeAspect="1"/>
          </p:cNvGraphicFramePr>
          <p:nvPr>
            <p:custDataLst>
              <p:tags r:id="rId1"/>
            </p:custDataLst>
            <p:extLst>
              <p:ext uri="{D42A27DB-BD31-4B8C-83A1-F6EECF244321}">
                <p14:modId xmlns:p14="http://schemas.microsoft.com/office/powerpoint/2010/main" val="21093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4" name="think-cell data - do not delete" hidden="1">
                        <a:extLst>
                          <a:ext uri="{FF2B5EF4-FFF2-40B4-BE49-F238E27FC236}">
                            <a16:creationId xmlns:a16="http://schemas.microsoft.com/office/drawing/2014/main" id="{C599FF7F-C2DF-F11B-F800-35FD9DD66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D6F8AE0E-E09B-1E17-F683-DD1051BF0BF3}"/>
              </a:ext>
            </a:extLst>
          </p:cNvPr>
          <p:cNvSpPr>
            <a:spLocks noGrp="1"/>
          </p:cNvSpPr>
          <p:nvPr>
            <p:ph type="title"/>
          </p:nvPr>
        </p:nvSpPr>
        <p:spPr/>
        <p:txBody>
          <a:bodyPr vert="horz"/>
          <a:lstStyle/>
          <a:p>
            <a:r>
              <a:rPr lang="de-DE" dirty="0"/>
              <a:t>Lorem ipsum dolor sit amet consetetur sadipscing elitr sed diam nonumy </a:t>
            </a:r>
            <a:r>
              <a:rPr lang="de-DE" b="1" dirty="0"/>
              <a:t>eirmod tempor invidunt </a:t>
            </a:r>
            <a:r>
              <a:rPr lang="de-DE" dirty="0"/>
              <a:t>ut labore et dolore magna. </a:t>
            </a:r>
          </a:p>
        </p:txBody>
      </p:sp>
      <p:sp>
        <p:nvSpPr>
          <p:cNvPr id="4" name="Textplatzhalter 3">
            <a:extLst>
              <a:ext uri="{FF2B5EF4-FFF2-40B4-BE49-F238E27FC236}">
                <a16:creationId xmlns:a16="http://schemas.microsoft.com/office/drawing/2014/main" id="{C83AC29C-6AA9-3C0E-3CEB-0658C9907F63}"/>
              </a:ext>
            </a:extLst>
          </p:cNvPr>
          <p:cNvSpPr>
            <a:spLocks noGrp="1"/>
          </p:cNvSpPr>
          <p:nvPr>
            <p:ph type="body" sz="quarter" idx="12"/>
          </p:nvPr>
        </p:nvSpPr>
        <p:spPr>
          <a:xfrm>
            <a:off x="4847547" y="2244271"/>
            <a:ext cx="1770788" cy="318924"/>
          </a:xfrm>
        </p:spPr>
        <p:txBody>
          <a:bodyPr/>
          <a:lstStyle/>
          <a:p>
            <a:r>
              <a:rPr lang="de-DE" dirty="0"/>
              <a:t>Optionaler Subtitle</a:t>
            </a:r>
          </a:p>
        </p:txBody>
      </p:sp>
      <p:sp>
        <p:nvSpPr>
          <p:cNvPr id="3" name="Fußzeilenplatzhalter 2">
            <a:extLst>
              <a:ext uri="{FF2B5EF4-FFF2-40B4-BE49-F238E27FC236}">
                <a16:creationId xmlns:a16="http://schemas.microsoft.com/office/drawing/2014/main" id="{F793ED2F-162B-BAD4-B0C0-C248AC10DBA4}"/>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176567F9-1959-FCB8-7D18-744929279AFA}"/>
              </a:ext>
            </a:extLst>
          </p:cNvPr>
          <p:cNvSpPr>
            <a:spLocks noGrp="1"/>
          </p:cNvSpPr>
          <p:nvPr>
            <p:ph type="sldNum" sz="quarter" idx="11"/>
          </p:nvPr>
        </p:nvSpPr>
        <p:spPr/>
        <p:txBody>
          <a:bodyPr/>
          <a:lstStyle/>
          <a:p>
            <a:fld id="{1FBD72F1-A42A-46B0-A7F8-CE6A9835826C}" type="slidenum">
              <a:rPr lang="de-DE" smtClean="0"/>
              <a:pPr/>
              <a:t>28</a:t>
            </a:fld>
            <a:endParaRPr lang="de-DE" dirty="0"/>
          </a:p>
        </p:txBody>
      </p:sp>
    </p:spTree>
    <p:extLst>
      <p:ext uri="{BB962C8B-B14F-4D97-AF65-F5344CB8AC3E}">
        <p14:creationId xmlns:p14="http://schemas.microsoft.com/office/powerpoint/2010/main" val="516592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7413B7-1FBE-11C5-95E0-265537169C80}"/>
              </a:ext>
            </a:extLst>
          </p:cNvPr>
          <p:cNvGraphicFramePr>
            <a:graphicFrameLocks noChangeAspect="1"/>
          </p:cNvGraphicFramePr>
          <p:nvPr>
            <p:custDataLst>
              <p:tags r:id="rId1"/>
            </p:custDataLst>
            <p:extLst>
              <p:ext uri="{D42A27DB-BD31-4B8C-83A1-F6EECF244321}">
                <p14:modId xmlns:p14="http://schemas.microsoft.com/office/powerpoint/2010/main" val="64482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A87413B7-1FBE-11C5-95E0-265537169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Bildplatzhalter 18">
            <a:extLst>
              <a:ext uri="{FF2B5EF4-FFF2-40B4-BE49-F238E27FC236}">
                <a16:creationId xmlns:a16="http://schemas.microsoft.com/office/drawing/2014/main" id="{A479F8A5-25CE-CD6A-1B6D-B5C36370F002}"/>
              </a:ext>
            </a:extLst>
          </p:cNvPr>
          <p:cNvSpPr>
            <a:spLocks noGrp="1"/>
          </p:cNvSpPr>
          <p:nvPr>
            <p:ph type="pic" sz="quarter" idx="12"/>
          </p:nvPr>
        </p:nvSpPr>
        <p:spPr/>
        <p:txBody>
          <a:bodyPr/>
          <a:lstStyle/>
          <a:p>
            <a:endParaRPr lang="de-DE" dirty="0"/>
          </a:p>
        </p:txBody>
      </p:sp>
      <p:sp>
        <p:nvSpPr>
          <p:cNvPr id="20" name="Bildplatzhalter 19">
            <a:extLst>
              <a:ext uri="{FF2B5EF4-FFF2-40B4-BE49-F238E27FC236}">
                <a16:creationId xmlns:a16="http://schemas.microsoft.com/office/drawing/2014/main" id="{796B471C-097E-CFFC-ECEA-170C4778B280}"/>
              </a:ext>
            </a:extLst>
          </p:cNvPr>
          <p:cNvSpPr>
            <a:spLocks noGrp="1"/>
          </p:cNvSpPr>
          <p:nvPr>
            <p:ph type="pic" sz="quarter" idx="13"/>
          </p:nvPr>
        </p:nvSpPr>
        <p:spPr/>
        <p:txBody>
          <a:bodyPr/>
          <a:lstStyle/>
          <a:p>
            <a:endParaRPr lang="de-DE" dirty="0"/>
          </a:p>
        </p:txBody>
      </p:sp>
      <p:sp>
        <p:nvSpPr>
          <p:cNvPr id="21" name="Bildplatzhalter 20">
            <a:extLst>
              <a:ext uri="{FF2B5EF4-FFF2-40B4-BE49-F238E27FC236}">
                <a16:creationId xmlns:a16="http://schemas.microsoft.com/office/drawing/2014/main" id="{DB4BA88E-FBA2-4073-7422-38530DE937FA}"/>
              </a:ext>
            </a:extLst>
          </p:cNvPr>
          <p:cNvSpPr>
            <a:spLocks noGrp="1"/>
          </p:cNvSpPr>
          <p:nvPr>
            <p:ph type="pic" sz="quarter" idx="14"/>
          </p:nvPr>
        </p:nvSpPr>
        <p:spPr/>
        <p:txBody>
          <a:bodyPr/>
          <a:lstStyle/>
          <a:p>
            <a:endParaRPr lang="de-DE" dirty="0"/>
          </a:p>
        </p:txBody>
      </p:sp>
      <p:sp>
        <p:nvSpPr>
          <p:cNvPr id="22" name="Bildplatzhalter 21">
            <a:extLst>
              <a:ext uri="{FF2B5EF4-FFF2-40B4-BE49-F238E27FC236}">
                <a16:creationId xmlns:a16="http://schemas.microsoft.com/office/drawing/2014/main" id="{080B913C-0692-5538-758C-9E77144B2EB1}"/>
              </a:ext>
            </a:extLst>
          </p:cNvPr>
          <p:cNvSpPr>
            <a:spLocks noGrp="1"/>
          </p:cNvSpPr>
          <p:nvPr>
            <p:ph type="pic" sz="quarter" idx="15"/>
          </p:nvPr>
        </p:nvSpPr>
        <p:spPr/>
        <p:txBody>
          <a:bodyPr/>
          <a:lstStyle/>
          <a:p>
            <a:endParaRPr lang="de-DE" dirty="0"/>
          </a:p>
        </p:txBody>
      </p:sp>
      <p:sp>
        <p:nvSpPr>
          <p:cNvPr id="23" name="Bildplatzhalter 22">
            <a:extLst>
              <a:ext uri="{FF2B5EF4-FFF2-40B4-BE49-F238E27FC236}">
                <a16:creationId xmlns:a16="http://schemas.microsoft.com/office/drawing/2014/main" id="{178DF4DE-9F7C-F22D-3A72-58D2AB18382D}"/>
              </a:ext>
            </a:extLst>
          </p:cNvPr>
          <p:cNvSpPr>
            <a:spLocks noGrp="1"/>
          </p:cNvSpPr>
          <p:nvPr>
            <p:ph type="pic" sz="quarter" idx="16"/>
          </p:nvPr>
        </p:nvSpPr>
        <p:spPr/>
        <p:txBody>
          <a:bodyPr/>
          <a:lstStyle/>
          <a:p>
            <a:endParaRPr lang="de-DE" dirty="0"/>
          </a:p>
        </p:txBody>
      </p:sp>
      <p:sp>
        <p:nvSpPr>
          <p:cNvPr id="24" name="Bildplatzhalter 23">
            <a:extLst>
              <a:ext uri="{FF2B5EF4-FFF2-40B4-BE49-F238E27FC236}">
                <a16:creationId xmlns:a16="http://schemas.microsoft.com/office/drawing/2014/main" id="{7AB1C8A4-512F-231C-8056-70466C0C950B}"/>
              </a:ext>
            </a:extLst>
          </p:cNvPr>
          <p:cNvSpPr>
            <a:spLocks noGrp="1"/>
          </p:cNvSpPr>
          <p:nvPr>
            <p:ph type="pic" sz="quarter" idx="17"/>
          </p:nvPr>
        </p:nvSpPr>
        <p:spPr/>
        <p:txBody>
          <a:bodyPr/>
          <a:lstStyle/>
          <a:p>
            <a:endParaRPr lang="de-DE" dirty="0"/>
          </a:p>
        </p:txBody>
      </p:sp>
      <p:sp>
        <p:nvSpPr>
          <p:cNvPr id="25" name="Bildplatzhalter 24">
            <a:extLst>
              <a:ext uri="{FF2B5EF4-FFF2-40B4-BE49-F238E27FC236}">
                <a16:creationId xmlns:a16="http://schemas.microsoft.com/office/drawing/2014/main" id="{D6CFC9A4-306B-CDFA-ECDE-8317ED12757A}"/>
              </a:ext>
            </a:extLst>
          </p:cNvPr>
          <p:cNvSpPr>
            <a:spLocks noGrp="1"/>
          </p:cNvSpPr>
          <p:nvPr>
            <p:ph type="pic" sz="quarter" idx="18"/>
          </p:nvPr>
        </p:nvSpPr>
        <p:spPr/>
        <p:txBody>
          <a:bodyPr/>
          <a:lstStyle/>
          <a:p>
            <a:endParaRPr lang="de-DE" dirty="0"/>
          </a:p>
        </p:txBody>
      </p:sp>
      <p:sp>
        <p:nvSpPr>
          <p:cNvPr id="26" name="Bildplatzhalter 25">
            <a:extLst>
              <a:ext uri="{FF2B5EF4-FFF2-40B4-BE49-F238E27FC236}">
                <a16:creationId xmlns:a16="http://schemas.microsoft.com/office/drawing/2014/main" id="{02BECD1A-45DA-45F5-81FB-8CED9C8C7EBD}"/>
              </a:ext>
            </a:extLst>
          </p:cNvPr>
          <p:cNvSpPr>
            <a:spLocks noGrp="1"/>
          </p:cNvSpPr>
          <p:nvPr>
            <p:ph type="pic" sz="quarter" idx="19"/>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5688216" y="2553111"/>
            <a:ext cx="2442664" cy="67710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8" name="Textplatzhalter 27">
            <a:extLst>
              <a:ext uri="{FF2B5EF4-FFF2-40B4-BE49-F238E27FC236}">
                <a16:creationId xmlns:a16="http://schemas.microsoft.com/office/drawing/2014/main" id="{533EA3FF-B250-875A-270B-669CE7211E58}"/>
              </a:ext>
            </a:extLst>
          </p:cNvPr>
          <p:cNvSpPr>
            <a:spLocks noGrp="1"/>
          </p:cNvSpPr>
          <p:nvPr>
            <p:ph type="body" sz="quarter" idx="22"/>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9" name="Textplatzhalter 28">
            <a:extLst>
              <a:ext uri="{FF2B5EF4-FFF2-40B4-BE49-F238E27FC236}">
                <a16:creationId xmlns:a16="http://schemas.microsoft.com/office/drawing/2014/main" id="{4E4FA147-D808-DE42-5F68-6B14A428D566}"/>
              </a:ext>
            </a:extLst>
          </p:cNvPr>
          <p:cNvSpPr>
            <a:spLocks noGrp="1"/>
          </p:cNvSpPr>
          <p:nvPr>
            <p:ph type="body" sz="quarter" idx="23"/>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0" name="Textplatzhalter 29">
            <a:extLst>
              <a:ext uri="{FF2B5EF4-FFF2-40B4-BE49-F238E27FC236}">
                <a16:creationId xmlns:a16="http://schemas.microsoft.com/office/drawing/2014/main" id="{31DA725A-0C43-F268-9CF6-4A6B7082F40F}"/>
              </a:ext>
            </a:extLst>
          </p:cNvPr>
          <p:cNvSpPr>
            <a:spLocks noGrp="1"/>
          </p:cNvSpPr>
          <p:nvPr>
            <p:ph type="body" sz="quarter" idx="24"/>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1" name="Textplatzhalter 30">
            <a:extLst>
              <a:ext uri="{FF2B5EF4-FFF2-40B4-BE49-F238E27FC236}">
                <a16:creationId xmlns:a16="http://schemas.microsoft.com/office/drawing/2014/main" id="{AA31D7CA-2EE6-9266-3974-0BB938C30A86}"/>
              </a:ext>
            </a:extLst>
          </p:cNvPr>
          <p:cNvSpPr>
            <a:spLocks noGrp="1"/>
          </p:cNvSpPr>
          <p:nvPr>
            <p:ph type="body" sz="quarter" idx="25"/>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2" name="Textplatzhalter 31">
            <a:extLst>
              <a:ext uri="{FF2B5EF4-FFF2-40B4-BE49-F238E27FC236}">
                <a16:creationId xmlns:a16="http://schemas.microsoft.com/office/drawing/2014/main" id="{26789A39-FFF9-6C8C-FA00-DA4034269A42}"/>
              </a:ext>
            </a:extLst>
          </p:cNvPr>
          <p:cNvSpPr>
            <a:spLocks noGrp="1"/>
          </p:cNvSpPr>
          <p:nvPr>
            <p:ph type="body" sz="quarter" idx="26"/>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3" name="Textplatzhalter 32">
            <a:extLst>
              <a:ext uri="{FF2B5EF4-FFF2-40B4-BE49-F238E27FC236}">
                <a16:creationId xmlns:a16="http://schemas.microsoft.com/office/drawing/2014/main" id="{6A25D321-DC9C-AE72-6D2F-0FCA68D24797}"/>
              </a:ext>
            </a:extLst>
          </p:cNvPr>
          <p:cNvSpPr>
            <a:spLocks noGrp="1"/>
          </p:cNvSpPr>
          <p:nvPr>
            <p:ph type="body" sz="quarter" idx="27"/>
          </p:nvPr>
        </p:nvSpPr>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4" name="Fußzeilenplatzhalter 33">
            <a:extLst>
              <a:ext uri="{FF2B5EF4-FFF2-40B4-BE49-F238E27FC236}">
                <a16:creationId xmlns:a16="http://schemas.microsoft.com/office/drawing/2014/main" id="{B1064B3D-422D-D304-7BAC-AF5DAC298CF2}"/>
              </a:ext>
            </a:extLst>
          </p:cNvPr>
          <p:cNvSpPr>
            <a:spLocks noGrp="1"/>
          </p:cNvSpPr>
          <p:nvPr>
            <p:ph type="ftr" sz="quarter" idx="10"/>
          </p:nvPr>
        </p:nvSpPr>
        <p:spPr/>
        <p:txBody>
          <a:bodyPr/>
          <a:lstStyle/>
          <a:p>
            <a:r>
              <a:rPr lang="de-DE" dirty="0"/>
              <a:t>© msg digital | Titel einfügen | 2024</a:t>
            </a:r>
          </a:p>
        </p:txBody>
      </p:sp>
      <p:sp>
        <p:nvSpPr>
          <p:cNvPr id="35" name="Foliennummernplatzhalter 34">
            <a:extLst>
              <a:ext uri="{FF2B5EF4-FFF2-40B4-BE49-F238E27FC236}">
                <a16:creationId xmlns:a16="http://schemas.microsoft.com/office/drawing/2014/main" id="{CD653D48-8F86-6F12-70EE-44AA022F4550}"/>
              </a:ext>
            </a:extLst>
          </p:cNvPr>
          <p:cNvSpPr>
            <a:spLocks noGrp="1"/>
          </p:cNvSpPr>
          <p:nvPr>
            <p:ph type="sldNum" sz="quarter" idx="11"/>
          </p:nvPr>
        </p:nvSpPr>
        <p:spPr/>
        <p:txBody>
          <a:bodyPr/>
          <a:lstStyle/>
          <a:p>
            <a:fld id="{1FBD72F1-A42A-46B0-A7F8-CE6A9835826C}" type="slidenum">
              <a:rPr lang="de-DE" smtClean="0"/>
              <a:pPr/>
              <a:t>29</a:t>
            </a:fld>
            <a:endParaRPr lang="de-DE" dirty="0"/>
          </a:p>
        </p:txBody>
      </p:sp>
    </p:spTree>
    <p:extLst>
      <p:ext uri="{BB962C8B-B14F-4D97-AF65-F5344CB8AC3E}">
        <p14:creationId xmlns:p14="http://schemas.microsoft.com/office/powerpoint/2010/main" val="2777558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49D7160-439B-7B65-62ED-EAD0B6898B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a:extLst>
                          <a:ext uri="{FF2B5EF4-FFF2-40B4-BE49-F238E27FC236}">
                            <a16:creationId xmlns:a16="http://schemas.microsoft.com/office/drawing/2014/main" id="{C49D7160-439B-7B65-62ED-EAD0B6898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Bildplatzhalter 33">
            <a:extLst>
              <a:ext uri="{FF2B5EF4-FFF2-40B4-BE49-F238E27FC236}">
                <a16:creationId xmlns:a16="http://schemas.microsoft.com/office/drawing/2014/main" id="{55A30021-BDC6-8F77-BE5A-9B371BC2A651}"/>
              </a:ext>
            </a:extLst>
          </p:cNvPr>
          <p:cNvSpPr>
            <a:spLocks noGrp="1"/>
          </p:cNvSpPr>
          <p:nvPr>
            <p:ph type="pic" sz="quarter" idx="12"/>
          </p:nvPr>
        </p:nvSpPr>
        <p:spPr/>
        <p:txBody>
          <a:bodyPr/>
          <a:lstStyle/>
          <a:p>
            <a:endParaRPr lang="de-DE" dirty="0"/>
          </a:p>
        </p:txBody>
      </p:sp>
      <p:sp>
        <p:nvSpPr>
          <p:cNvPr id="35" name="Bildplatzhalter 34">
            <a:extLst>
              <a:ext uri="{FF2B5EF4-FFF2-40B4-BE49-F238E27FC236}">
                <a16:creationId xmlns:a16="http://schemas.microsoft.com/office/drawing/2014/main" id="{CC76BCC8-F6BF-1ED7-09CF-79FAF5AFAC42}"/>
              </a:ext>
            </a:extLst>
          </p:cNvPr>
          <p:cNvSpPr>
            <a:spLocks noGrp="1"/>
          </p:cNvSpPr>
          <p:nvPr>
            <p:ph type="pic" sz="quarter" idx="13"/>
          </p:nvPr>
        </p:nvSpPr>
        <p:spPr/>
        <p:txBody>
          <a:bodyPr/>
          <a:lstStyle/>
          <a:p>
            <a:endParaRPr lang="de-DE" dirty="0"/>
          </a:p>
        </p:txBody>
      </p:sp>
      <p:sp>
        <p:nvSpPr>
          <p:cNvPr id="10" name="Textplatzhalter 9">
            <a:extLst>
              <a:ext uri="{FF2B5EF4-FFF2-40B4-BE49-F238E27FC236}">
                <a16:creationId xmlns:a16="http://schemas.microsoft.com/office/drawing/2014/main" id="{B6E4F10B-8F60-B569-61E1-6AB77CB3D788}"/>
              </a:ext>
            </a:extLst>
          </p:cNvPr>
          <p:cNvSpPr>
            <a:spLocks noGrp="1"/>
          </p:cNvSpPr>
          <p:nvPr>
            <p:ph type="body" sz="quarter" idx="20"/>
          </p:nvPr>
        </p:nvSpPr>
        <p:spPr>
          <a:xfrm>
            <a:off x="4847544"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27" name="Textplatzhalter 26">
            <a:extLst>
              <a:ext uri="{FF2B5EF4-FFF2-40B4-BE49-F238E27FC236}">
                <a16:creationId xmlns:a16="http://schemas.microsoft.com/office/drawing/2014/main" id="{6A8C3C89-82D5-8F10-C948-6019EBA9D333}"/>
              </a:ext>
            </a:extLst>
          </p:cNvPr>
          <p:cNvSpPr>
            <a:spLocks noGrp="1"/>
          </p:cNvSpPr>
          <p:nvPr>
            <p:ph type="body" sz="quarter" idx="21"/>
          </p:nvPr>
        </p:nvSpPr>
        <p:spPr>
          <a:xfrm>
            <a:off x="8573702" y="4160040"/>
            <a:ext cx="3283335" cy="1077218"/>
          </a:xfrm>
        </p:spPr>
        <p:txBody>
          <a:bodyPr/>
          <a:lstStyle/>
          <a:p>
            <a:r>
              <a:rPr lang="de-DE" dirty="0"/>
              <a:t>Name Nachname</a:t>
            </a:r>
          </a:p>
          <a:p>
            <a:pPr lvl="1"/>
            <a:r>
              <a:rPr lang="de-DE" dirty="0"/>
              <a:t>Berufsbezeichnung</a:t>
            </a:r>
          </a:p>
          <a:p>
            <a:pPr lvl="1"/>
            <a:r>
              <a:rPr lang="de-DE" dirty="0"/>
              <a:t>name.nachname@msg.group</a:t>
            </a:r>
          </a:p>
          <a:p>
            <a:pPr lvl="1"/>
            <a:r>
              <a:rPr lang="de-DE" dirty="0"/>
              <a:t>+49 171 12345678</a:t>
            </a:r>
          </a:p>
        </p:txBody>
      </p:sp>
      <p:sp>
        <p:nvSpPr>
          <p:cNvPr id="36" name="Fußzeilenplatzhalter 35">
            <a:extLst>
              <a:ext uri="{FF2B5EF4-FFF2-40B4-BE49-F238E27FC236}">
                <a16:creationId xmlns:a16="http://schemas.microsoft.com/office/drawing/2014/main" id="{43159814-3BE1-6545-9202-0D6C2EA47DA5}"/>
              </a:ext>
            </a:extLst>
          </p:cNvPr>
          <p:cNvSpPr>
            <a:spLocks noGrp="1"/>
          </p:cNvSpPr>
          <p:nvPr>
            <p:ph type="ftr" sz="quarter" idx="10"/>
          </p:nvPr>
        </p:nvSpPr>
        <p:spPr/>
        <p:txBody>
          <a:bodyPr/>
          <a:lstStyle/>
          <a:p>
            <a:r>
              <a:rPr lang="de-DE" dirty="0"/>
              <a:t>© msg digital | Titel einfügen | 2024</a:t>
            </a:r>
          </a:p>
        </p:txBody>
      </p:sp>
      <p:sp>
        <p:nvSpPr>
          <p:cNvPr id="37" name="Foliennummernplatzhalter 36">
            <a:extLst>
              <a:ext uri="{FF2B5EF4-FFF2-40B4-BE49-F238E27FC236}">
                <a16:creationId xmlns:a16="http://schemas.microsoft.com/office/drawing/2014/main" id="{98621CF9-4087-1A20-1F87-38E0B000CAD5}"/>
              </a:ext>
            </a:extLst>
          </p:cNvPr>
          <p:cNvSpPr>
            <a:spLocks noGrp="1"/>
          </p:cNvSpPr>
          <p:nvPr>
            <p:ph type="sldNum" sz="quarter" idx="11"/>
          </p:nvPr>
        </p:nvSpPr>
        <p:spPr/>
        <p:txBody>
          <a:bodyPr/>
          <a:lstStyle/>
          <a:p>
            <a:fld id="{1FBD72F1-A42A-46B0-A7F8-CE6A9835826C}" type="slidenum">
              <a:rPr lang="de-DE" smtClean="0"/>
              <a:pPr/>
              <a:t>3</a:t>
            </a:fld>
            <a:endParaRPr lang="de-DE" dirty="0"/>
          </a:p>
        </p:txBody>
      </p:sp>
    </p:spTree>
    <p:extLst>
      <p:ext uri="{BB962C8B-B14F-4D97-AF65-F5344CB8AC3E}">
        <p14:creationId xmlns:p14="http://schemas.microsoft.com/office/powerpoint/2010/main" val="31491407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83227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1752356740"/>
              </p:ext>
            </p:extLst>
          </p:nvPr>
        </p:nvGraphicFramePr>
        <p:xfrm>
          <a:off x="623888" y="1773238"/>
          <a:ext cx="11233576" cy="2858880"/>
        </p:xfrm>
        <a:graphic>
          <a:graphicData uri="http://schemas.openxmlformats.org/drawingml/2006/table">
            <a:tbl>
              <a:tblPr firstRow="1" bandRow="1">
                <a:tableStyleId>{8EC20E35-A176-4012-BC5E-935CFFF8708E}</a:tableStyleId>
              </a:tblPr>
              <a:tblGrid>
                <a:gridCol w="1404197">
                  <a:extLst>
                    <a:ext uri="{9D8B030D-6E8A-4147-A177-3AD203B41FA5}">
                      <a16:colId xmlns:a16="http://schemas.microsoft.com/office/drawing/2014/main" val="3774108167"/>
                    </a:ext>
                  </a:extLst>
                </a:gridCol>
                <a:gridCol w="1404197">
                  <a:extLst>
                    <a:ext uri="{9D8B030D-6E8A-4147-A177-3AD203B41FA5}">
                      <a16:colId xmlns:a16="http://schemas.microsoft.com/office/drawing/2014/main" val="2975428938"/>
                    </a:ext>
                  </a:extLst>
                </a:gridCol>
                <a:gridCol w="1404197">
                  <a:extLst>
                    <a:ext uri="{9D8B030D-6E8A-4147-A177-3AD203B41FA5}">
                      <a16:colId xmlns:a16="http://schemas.microsoft.com/office/drawing/2014/main" val="2606818010"/>
                    </a:ext>
                  </a:extLst>
                </a:gridCol>
                <a:gridCol w="1404197">
                  <a:extLst>
                    <a:ext uri="{9D8B030D-6E8A-4147-A177-3AD203B41FA5}">
                      <a16:colId xmlns:a16="http://schemas.microsoft.com/office/drawing/2014/main" val="1159858388"/>
                    </a:ext>
                  </a:extLst>
                </a:gridCol>
                <a:gridCol w="1404197">
                  <a:extLst>
                    <a:ext uri="{9D8B030D-6E8A-4147-A177-3AD203B41FA5}">
                      <a16:colId xmlns:a16="http://schemas.microsoft.com/office/drawing/2014/main" val="625708234"/>
                    </a:ext>
                  </a:extLst>
                </a:gridCol>
                <a:gridCol w="1404197">
                  <a:extLst>
                    <a:ext uri="{9D8B030D-6E8A-4147-A177-3AD203B41FA5}">
                      <a16:colId xmlns:a16="http://schemas.microsoft.com/office/drawing/2014/main" val="2548697209"/>
                    </a:ext>
                  </a:extLst>
                </a:gridCol>
                <a:gridCol w="1404197">
                  <a:extLst>
                    <a:ext uri="{9D8B030D-6E8A-4147-A177-3AD203B41FA5}">
                      <a16:colId xmlns:a16="http://schemas.microsoft.com/office/drawing/2014/main" val="226829178"/>
                    </a:ext>
                  </a:extLst>
                </a:gridCol>
                <a:gridCol w="1404197">
                  <a:extLst>
                    <a:ext uri="{9D8B030D-6E8A-4147-A177-3AD203B41FA5}">
                      <a16:colId xmlns:a16="http://schemas.microsoft.com/office/drawing/2014/main" val="915776919"/>
                    </a:ext>
                  </a:extLst>
                </a:gridCol>
              </a:tblGrid>
              <a:tr h="0">
                <a:tc>
                  <a:txBody>
                    <a:bodyPr/>
                    <a:lstStyle/>
                    <a:p>
                      <a:pPr algn="l"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tc>
                  <a:txBody>
                    <a:bodyPr/>
                    <a:lstStyle/>
                    <a:p>
                      <a:pPr rtl="0"/>
                      <a:r>
                        <a:rPr lang="de-DE" sz="1400" dirty="0">
                          <a:solidFill>
                            <a:schemeClr val="bg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45652273"/>
                  </a:ext>
                </a:extLst>
              </a:tr>
              <a:tr h="0">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tx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tx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tx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13" name="Fußzeilenplatzhalter 12">
            <a:extLst>
              <a:ext uri="{FF2B5EF4-FFF2-40B4-BE49-F238E27FC236}">
                <a16:creationId xmlns:a16="http://schemas.microsoft.com/office/drawing/2014/main" id="{50EEE3B3-ABBA-7A13-7381-27D8D5CB8FF0}"/>
              </a:ext>
            </a:extLst>
          </p:cNvPr>
          <p:cNvSpPr>
            <a:spLocks noGrp="1"/>
          </p:cNvSpPr>
          <p:nvPr>
            <p:ph type="ftr" sz="quarter" idx="10"/>
          </p:nvPr>
        </p:nvSpPr>
        <p:spPr/>
        <p:txBody>
          <a:bodyPr/>
          <a:lstStyle/>
          <a:p>
            <a:r>
              <a:rPr lang="de-DE" dirty="0"/>
              <a:t>© msg digital | Titel einfügen | 2024</a:t>
            </a:r>
          </a:p>
        </p:txBody>
      </p:sp>
      <p:sp>
        <p:nvSpPr>
          <p:cNvPr id="14" name="Foliennummernplatzhalter 13">
            <a:extLst>
              <a:ext uri="{FF2B5EF4-FFF2-40B4-BE49-F238E27FC236}">
                <a16:creationId xmlns:a16="http://schemas.microsoft.com/office/drawing/2014/main" id="{541E79D1-EF6D-283F-A5DD-440E424D7BE1}"/>
              </a:ext>
            </a:extLst>
          </p:cNvPr>
          <p:cNvSpPr>
            <a:spLocks noGrp="1"/>
          </p:cNvSpPr>
          <p:nvPr>
            <p:ph type="sldNum" sz="quarter" idx="11"/>
          </p:nvPr>
        </p:nvSpPr>
        <p:spPr/>
        <p:txBody>
          <a:bodyPr/>
          <a:lstStyle/>
          <a:p>
            <a:fld id="{1FBD72F1-A42A-46B0-A7F8-CE6A9835826C}" type="slidenum">
              <a:rPr lang="de-DE" smtClean="0"/>
              <a:pPr/>
              <a:t>30</a:t>
            </a:fld>
            <a:endParaRPr lang="de-DE" dirty="0"/>
          </a:p>
        </p:txBody>
      </p:sp>
    </p:spTree>
    <p:extLst>
      <p:ext uri="{BB962C8B-B14F-4D97-AF65-F5344CB8AC3E}">
        <p14:creationId xmlns:p14="http://schemas.microsoft.com/office/powerpoint/2010/main" val="3373992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06567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12" name="Tabelle 4">
            <a:extLst>
              <a:ext uri="{FF2B5EF4-FFF2-40B4-BE49-F238E27FC236}">
                <a16:creationId xmlns:a16="http://schemas.microsoft.com/office/drawing/2014/main" id="{6C4B7BEA-A547-F916-970A-917FDF4B7D29}"/>
              </a:ext>
            </a:extLst>
          </p:cNvPr>
          <p:cNvGraphicFramePr>
            <a:graphicFrameLocks noGrp="1"/>
          </p:cNvGraphicFramePr>
          <p:nvPr>
            <p:ph idx="1"/>
            <p:extLst>
              <p:ext uri="{D42A27DB-BD31-4B8C-83A1-F6EECF244321}">
                <p14:modId xmlns:p14="http://schemas.microsoft.com/office/powerpoint/2010/main" val="3763259920"/>
              </p:ext>
            </p:extLst>
          </p:nvPr>
        </p:nvGraphicFramePr>
        <p:xfrm>
          <a:off x="623888" y="1773238"/>
          <a:ext cx="11233144" cy="2858880"/>
        </p:xfrm>
        <a:graphic>
          <a:graphicData uri="http://schemas.openxmlformats.org/drawingml/2006/table">
            <a:tbl>
              <a:tblPr firstRow="1" bandRow="1">
                <a:tableStyleId>{8EC20E35-A176-4012-BC5E-935CFFF8708E}</a:tableStyleId>
              </a:tblPr>
              <a:tblGrid>
                <a:gridCol w="1404143">
                  <a:extLst>
                    <a:ext uri="{9D8B030D-6E8A-4147-A177-3AD203B41FA5}">
                      <a16:colId xmlns:a16="http://schemas.microsoft.com/office/drawing/2014/main" val="3774108167"/>
                    </a:ext>
                  </a:extLst>
                </a:gridCol>
                <a:gridCol w="1404143">
                  <a:extLst>
                    <a:ext uri="{9D8B030D-6E8A-4147-A177-3AD203B41FA5}">
                      <a16:colId xmlns:a16="http://schemas.microsoft.com/office/drawing/2014/main" val="2975428938"/>
                    </a:ext>
                  </a:extLst>
                </a:gridCol>
                <a:gridCol w="1404143">
                  <a:extLst>
                    <a:ext uri="{9D8B030D-6E8A-4147-A177-3AD203B41FA5}">
                      <a16:colId xmlns:a16="http://schemas.microsoft.com/office/drawing/2014/main" val="2606818010"/>
                    </a:ext>
                  </a:extLst>
                </a:gridCol>
                <a:gridCol w="1404143">
                  <a:extLst>
                    <a:ext uri="{9D8B030D-6E8A-4147-A177-3AD203B41FA5}">
                      <a16:colId xmlns:a16="http://schemas.microsoft.com/office/drawing/2014/main" val="1159858388"/>
                    </a:ext>
                  </a:extLst>
                </a:gridCol>
                <a:gridCol w="1404143">
                  <a:extLst>
                    <a:ext uri="{9D8B030D-6E8A-4147-A177-3AD203B41FA5}">
                      <a16:colId xmlns:a16="http://schemas.microsoft.com/office/drawing/2014/main" val="625708234"/>
                    </a:ext>
                  </a:extLst>
                </a:gridCol>
                <a:gridCol w="1404143">
                  <a:extLst>
                    <a:ext uri="{9D8B030D-6E8A-4147-A177-3AD203B41FA5}">
                      <a16:colId xmlns:a16="http://schemas.microsoft.com/office/drawing/2014/main" val="2548697209"/>
                    </a:ext>
                  </a:extLst>
                </a:gridCol>
                <a:gridCol w="1404143">
                  <a:extLst>
                    <a:ext uri="{9D8B030D-6E8A-4147-A177-3AD203B41FA5}">
                      <a16:colId xmlns:a16="http://schemas.microsoft.com/office/drawing/2014/main" val="226829178"/>
                    </a:ext>
                  </a:extLst>
                </a:gridCol>
                <a:gridCol w="1404143">
                  <a:extLst>
                    <a:ext uri="{9D8B030D-6E8A-4147-A177-3AD203B41FA5}">
                      <a16:colId xmlns:a16="http://schemas.microsoft.com/office/drawing/2014/main" val="915776919"/>
                    </a:ext>
                  </a:extLst>
                </a:gridCol>
              </a:tblGrid>
              <a:tr h="0">
                <a:tc>
                  <a:txBody>
                    <a:bodyPr/>
                    <a:lstStyle/>
                    <a:p>
                      <a:pPr algn="l"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tc>
                  <a:txBody>
                    <a:bodyPr/>
                    <a:lstStyle/>
                    <a:p>
                      <a:pPr rtl="0"/>
                      <a:r>
                        <a:rPr lang="de-DE" sz="1400" dirty="0">
                          <a:solidFill>
                            <a:schemeClr val="tx1"/>
                          </a:solidFill>
                          <a:latin typeface="+mn-lt"/>
                        </a:rPr>
                        <a:t>Label</a:t>
                      </a:r>
                    </a:p>
                  </a:txBody>
                  <a:tcPr marL="72000" marR="72000" marT="72000" marB="72000" anchor="ctr">
                    <a:lnL>
                      <a:noFill/>
                    </a:lnL>
                    <a:lnR>
                      <a:noFill/>
                    </a:lnR>
                    <a:lnT w="25400" cmpd="sng">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5652273"/>
                  </a:ext>
                </a:extLst>
              </a:tr>
              <a:tr h="0">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rtl="0"/>
                      <a:r>
                        <a:rPr lang="de-DE" sz="1400" dirty="0">
                          <a:solidFill>
                            <a:schemeClr val="bg1"/>
                          </a:solidFill>
                          <a:latin typeface="+mn-lt"/>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25400" cmpd="sng">
                      <a:noFill/>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32187544"/>
                  </a:ext>
                </a:extLst>
              </a:tr>
              <a:tr h="0">
                <a:tc>
                  <a:txBody>
                    <a:bodyPr/>
                    <a:lstStyle/>
                    <a:p>
                      <a:pPr rtl="0"/>
                      <a:r>
                        <a:rPr lang="de-DE" sz="1400" dirty="0">
                          <a:solidFill>
                            <a:schemeClr val="bg1"/>
                          </a:solidFill>
                          <a:latin typeface="+mn-lt"/>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750340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6408124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92087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57331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001359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mn-lt"/>
                          <a:ea typeface="+mn-ea"/>
                          <a:cs typeface="+mn-cs"/>
                        </a:rPr>
                        <a:t>Table Item</a:t>
                      </a:r>
                    </a:p>
                  </a:txBody>
                  <a:tcPr marL="72000" marR="72000" marT="72000" marB="72000" anchor="ctr">
                    <a:lnT w="952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55279253"/>
                  </a:ext>
                </a:extLst>
              </a:tr>
            </a:tbl>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5" name="Fußzeilenplatzhalter 4">
            <a:extLst>
              <a:ext uri="{FF2B5EF4-FFF2-40B4-BE49-F238E27FC236}">
                <a16:creationId xmlns:a16="http://schemas.microsoft.com/office/drawing/2014/main" id="{D45E51B8-2D25-5F8D-2F76-712406F12AE3}"/>
              </a:ext>
            </a:extLst>
          </p:cNvPr>
          <p:cNvSpPr>
            <a:spLocks noGrp="1"/>
          </p:cNvSpPr>
          <p:nvPr>
            <p:ph type="ftr" sz="quarter" idx="10"/>
          </p:nvPr>
        </p:nvSpPr>
        <p:spPr/>
        <p:txBody>
          <a:bodyPr/>
          <a:lstStyle/>
          <a:p>
            <a:r>
              <a:rPr lang="de-DE" dirty="0"/>
              <a:t>© msg digital | Titel einfügen | 2024</a:t>
            </a:r>
          </a:p>
        </p:txBody>
      </p:sp>
      <p:sp>
        <p:nvSpPr>
          <p:cNvPr id="7" name="Foliennummernplatzhalter 6">
            <a:extLst>
              <a:ext uri="{FF2B5EF4-FFF2-40B4-BE49-F238E27FC236}">
                <a16:creationId xmlns:a16="http://schemas.microsoft.com/office/drawing/2014/main" id="{B95623A5-7358-6846-9EDD-7ED88C7357A5}"/>
              </a:ext>
            </a:extLst>
          </p:cNvPr>
          <p:cNvSpPr>
            <a:spLocks noGrp="1"/>
          </p:cNvSpPr>
          <p:nvPr>
            <p:ph type="sldNum" sz="quarter" idx="11"/>
          </p:nvPr>
        </p:nvSpPr>
        <p:spPr/>
        <p:txBody>
          <a:bodyPr/>
          <a:lstStyle/>
          <a:p>
            <a:fld id="{1FBD72F1-A42A-46B0-A7F8-CE6A9835826C}" type="slidenum">
              <a:rPr lang="de-DE" smtClean="0"/>
              <a:pPr/>
              <a:t>31</a:t>
            </a:fld>
            <a:endParaRPr lang="de-DE" dirty="0"/>
          </a:p>
        </p:txBody>
      </p:sp>
    </p:spTree>
    <p:extLst>
      <p:ext uri="{BB962C8B-B14F-4D97-AF65-F5344CB8AC3E}">
        <p14:creationId xmlns:p14="http://schemas.microsoft.com/office/powerpoint/2010/main" val="20046543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142097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8" name="Fußzeilenplatzhalter 7">
            <a:extLst>
              <a:ext uri="{FF2B5EF4-FFF2-40B4-BE49-F238E27FC236}">
                <a16:creationId xmlns:a16="http://schemas.microsoft.com/office/drawing/2014/main" id="{CC33F961-0B22-EE8D-CE67-AE2B08E60648}"/>
              </a:ext>
            </a:extLst>
          </p:cNvPr>
          <p:cNvSpPr>
            <a:spLocks noGrp="1"/>
          </p:cNvSpPr>
          <p:nvPr>
            <p:ph type="ftr" sz="quarter" idx="10"/>
          </p:nvPr>
        </p:nvSpPr>
        <p:spPr/>
        <p:txBody>
          <a:bodyPr/>
          <a:lstStyle/>
          <a:p>
            <a:r>
              <a:rPr lang="de-DE" dirty="0"/>
              <a:t>© msg digital | Titel einfügen | 2024</a:t>
            </a:r>
          </a:p>
        </p:txBody>
      </p:sp>
      <p:sp>
        <p:nvSpPr>
          <p:cNvPr id="9" name="Foliennummernplatzhalter 8">
            <a:extLst>
              <a:ext uri="{FF2B5EF4-FFF2-40B4-BE49-F238E27FC236}">
                <a16:creationId xmlns:a16="http://schemas.microsoft.com/office/drawing/2014/main" id="{78813524-0183-57AF-843E-134AF118D095}"/>
              </a:ext>
            </a:extLst>
          </p:cNvPr>
          <p:cNvSpPr>
            <a:spLocks noGrp="1"/>
          </p:cNvSpPr>
          <p:nvPr>
            <p:ph type="sldNum" sz="quarter" idx="11"/>
          </p:nvPr>
        </p:nvSpPr>
        <p:spPr/>
        <p:txBody>
          <a:bodyPr/>
          <a:lstStyle/>
          <a:p>
            <a:fld id="{1FBD72F1-A42A-46B0-A7F8-CE6A9835826C}" type="slidenum">
              <a:rPr lang="de-DE" smtClean="0"/>
              <a:pPr/>
              <a:t>32</a:t>
            </a:fld>
            <a:endParaRPr lang="de-DE" dirty="0"/>
          </a:p>
        </p:txBody>
      </p:sp>
    </p:spTree>
    <p:extLst>
      <p:ext uri="{BB962C8B-B14F-4D97-AF65-F5344CB8AC3E}">
        <p14:creationId xmlns:p14="http://schemas.microsoft.com/office/powerpoint/2010/main" val="247708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3280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7" name="Inhaltsplatzhalter 6">
            <a:extLst>
              <a:ext uri="{FF2B5EF4-FFF2-40B4-BE49-F238E27FC236}">
                <a16:creationId xmlns:a16="http://schemas.microsoft.com/office/drawing/2014/main" id="{9A31561F-E650-D931-4529-B601C997108D}"/>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 name="Fußzeilenplatzhalter 2">
            <a:extLst>
              <a:ext uri="{FF2B5EF4-FFF2-40B4-BE49-F238E27FC236}">
                <a16:creationId xmlns:a16="http://schemas.microsoft.com/office/drawing/2014/main" id="{684EEA24-45E6-F159-BE2B-C2E0888ACA55}"/>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9E5C3511-0796-7D9A-E3F7-90E1AC58F009}"/>
              </a:ext>
            </a:extLst>
          </p:cNvPr>
          <p:cNvSpPr>
            <a:spLocks noGrp="1"/>
          </p:cNvSpPr>
          <p:nvPr>
            <p:ph type="sldNum" sz="quarter" idx="11"/>
          </p:nvPr>
        </p:nvSpPr>
        <p:spPr/>
        <p:txBody>
          <a:bodyPr/>
          <a:lstStyle/>
          <a:p>
            <a:fld id="{1FBD72F1-A42A-46B0-A7F8-CE6A9835826C}" type="slidenum">
              <a:rPr lang="de-DE" smtClean="0"/>
              <a:pPr/>
              <a:t>33</a:t>
            </a:fld>
            <a:endParaRPr lang="de-DE" dirty="0"/>
          </a:p>
        </p:txBody>
      </p:sp>
    </p:spTree>
    <p:extLst>
      <p:ext uri="{BB962C8B-B14F-4D97-AF65-F5344CB8AC3E}">
        <p14:creationId xmlns:p14="http://schemas.microsoft.com/office/powerpoint/2010/main" val="22746060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41622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523"/>
            <a:ext cx="1267508" cy="241980"/>
          </a:xfrm>
        </p:spPr>
        <p:txBody>
          <a:bodyPr/>
          <a:lstStyle/>
          <a:p>
            <a:r>
              <a:rPr lang="de-DE" dirty="0"/>
              <a:t>Optionaler Subtitle</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tx1">
                      <a:lumMod val="100000"/>
                    </a:schemeClr>
                  </a:solidFill>
                  <a:latin typeface="Calibri" panose="020F0502020204030204" pitchFamily="34" charset="0"/>
                  <a:ea typeface="Akkurat LL" panose="020B0504020101010102" pitchFamily="34" charset="-126"/>
                </a:rPr>
                <a:t>56%</a:t>
              </a:r>
            </a:p>
            <a:p>
              <a:pPr algn="r"/>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24%</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tx1">
                      <a:lumMod val="100000"/>
                    </a:schemeClr>
                  </a:solidFill>
                  <a:latin typeface="Calibri" panose="020F0502020204030204" pitchFamily="34" charset="0"/>
                  <a:ea typeface="Akkurat LL" panose="020B0504020101010102" pitchFamily="34" charset="-126"/>
                </a:rPr>
                <a:t>7%</a:t>
              </a:r>
            </a:p>
            <a:p>
              <a:r>
                <a:rPr lang="de-DE" sz="1200" dirty="0">
                  <a:solidFill>
                    <a:schemeClr val="tx1">
                      <a:lumMod val="100000"/>
                    </a:schemeClr>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 name="Fußzeilenplatzhalter 24">
            <a:extLst>
              <a:ext uri="{FF2B5EF4-FFF2-40B4-BE49-F238E27FC236}">
                <a16:creationId xmlns:a16="http://schemas.microsoft.com/office/drawing/2014/main" id="{7665C5F0-B8AB-605A-CA4C-07565C576B88}"/>
              </a:ext>
            </a:extLst>
          </p:cNvPr>
          <p:cNvSpPr>
            <a:spLocks noGrp="1"/>
          </p:cNvSpPr>
          <p:nvPr>
            <p:ph type="ftr" sz="quarter" idx="10"/>
          </p:nvPr>
        </p:nvSpPr>
        <p:spPr/>
        <p:txBody>
          <a:bodyPr/>
          <a:lstStyle/>
          <a:p>
            <a:r>
              <a:rPr lang="de-DE" dirty="0"/>
              <a:t>© msg digital | Titel einfügen | 2024</a:t>
            </a:r>
          </a:p>
        </p:txBody>
      </p:sp>
      <p:sp>
        <p:nvSpPr>
          <p:cNvPr id="26" name="Foliennummernplatzhalter 25">
            <a:extLst>
              <a:ext uri="{FF2B5EF4-FFF2-40B4-BE49-F238E27FC236}">
                <a16:creationId xmlns:a16="http://schemas.microsoft.com/office/drawing/2014/main" id="{A8548F69-D92E-F3F0-1520-976D6219BC4A}"/>
              </a:ext>
            </a:extLst>
          </p:cNvPr>
          <p:cNvSpPr>
            <a:spLocks noGrp="1"/>
          </p:cNvSpPr>
          <p:nvPr>
            <p:ph type="sldNum" sz="quarter" idx="11"/>
          </p:nvPr>
        </p:nvSpPr>
        <p:spPr/>
        <p:txBody>
          <a:bodyPr/>
          <a:lstStyle/>
          <a:p>
            <a:fld id="{1FBD72F1-A42A-46B0-A7F8-CE6A9835826C}" type="slidenum">
              <a:rPr lang="de-DE" smtClean="0"/>
              <a:pPr/>
              <a:t>34</a:t>
            </a:fld>
            <a:endParaRPr lang="de-DE" dirty="0"/>
          </a:p>
        </p:txBody>
      </p:sp>
    </p:spTree>
    <p:extLst>
      <p:ext uri="{BB962C8B-B14F-4D97-AF65-F5344CB8AC3E}">
        <p14:creationId xmlns:p14="http://schemas.microsoft.com/office/powerpoint/2010/main" val="1312915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E877F5B-02E8-641B-7F29-8966D715C481}"/>
              </a:ext>
            </a:extLst>
          </p:cNvPr>
          <p:cNvGraphicFramePr>
            <a:graphicFrameLocks noChangeAspect="1"/>
          </p:cNvGraphicFramePr>
          <p:nvPr>
            <p:custDataLst>
              <p:tags r:id="rId1"/>
            </p:custDataLst>
            <p:extLst>
              <p:ext uri="{D42A27DB-BD31-4B8C-83A1-F6EECF244321}">
                <p14:modId xmlns:p14="http://schemas.microsoft.com/office/powerpoint/2010/main" val="2224357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think-cell data - do not delete" hidden="1">
                        <a:extLst>
                          <a:ext uri="{FF2B5EF4-FFF2-40B4-BE49-F238E27FC236}">
                            <a16:creationId xmlns:a16="http://schemas.microsoft.com/office/drawing/2014/main" id="{DE877F5B-02E8-641B-7F29-8966D715C4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4E3A5DE-4C9C-3C14-E46A-DEC78251D249}"/>
              </a:ext>
            </a:extLst>
          </p:cNvPr>
          <p:cNvSpPr>
            <a:spLocks noGrp="1"/>
          </p:cNvSpPr>
          <p:nvPr>
            <p:ph type="title"/>
          </p:nvPr>
        </p:nvSpPr>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graphicFrame>
        <p:nvGraphicFramePr>
          <p:cNvPr id="8" name="Inhaltsplatzhalter 7">
            <a:extLst>
              <a:ext uri="{FF2B5EF4-FFF2-40B4-BE49-F238E27FC236}">
                <a16:creationId xmlns:a16="http://schemas.microsoft.com/office/drawing/2014/main" id="{A5BDEA1B-3A41-8F66-5D18-DD69ABEDE112}"/>
              </a:ext>
            </a:extLst>
          </p:cNvPr>
          <p:cNvGraphicFramePr>
            <a:graphicFrameLocks noGrp="1"/>
          </p:cNvGraphicFramePr>
          <p:nvPr>
            <p:ph idx="1"/>
          </p:nvPr>
        </p:nvGraphicFramePr>
        <p:xfrm>
          <a:off x="623888" y="1773238"/>
          <a:ext cx="11233150" cy="4356100"/>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3">
            <a:extLst>
              <a:ext uri="{FF2B5EF4-FFF2-40B4-BE49-F238E27FC236}">
                <a16:creationId xmlns:a16="http://schemas.microsoft.com/office/drawing/2014/main" id="{B686B6AE-D2ED-282D-4535-F3AEA49CD3F2}"/>
              </a:ext>
            </a:extLst>
          </p:cNvPr>
          <p:cNvSpPr>
            <a:spLocks noGrp="1"/>
          </p:cNvSpPr>
          <p:nvPr>
            <p:ph type="body" sz="quarter" idx="12"/>
          </p:nvPr>
        </p:nvSpPr>
        <p:spPr>
          <a:xfrm>
            <a:off x="623888" y="296863"/>
            <a:ext cx="1267508" cy="241980"/>
          </a:xfrm>
        </p:spPr>
        <p:txBody>
          <a:bodyPr/>
          <a:lstStyle/>
          <a:p>
            <a:r>
              <a:rPr lang="de-DE" dirty="0"/>
              <a:t>Optionaler Subtitle</a:t>
            </a:r>
          </a:p>
        </p:txBody>
      </p:sp>
      <p:grpSp>
        <p:nvGrpSpPr>
          <p:cNvPr id="21" name="Gruppieren 20">
            <a:extLst>
              <a:ext uri="{FF2B5EF4-FFF2-40B4-BE49-F238E27FC236}">
                <a16:creationId xmlns:a16="http://schemas.microsoft.com/office/drawing/2014/main" id="{FE4F929A-DE8F-CBFA-1FAC-855BEDAE2F3D}"/>
              </a:ext>
            </a:extLst>
          </p:cNvPr>
          <p:cNvGrpSpPr/>
          <p:nvPr/>
        </p:nvGrpSpPr>
        <p:grpSpPr>
          <a:xfrm>
            <a:off x="7781925" y="3208957"/>
            <a:ext cx="2657475" cy="534368"/>
            <a:chOff x="7781925" y="3208957"/>
            <a:chExt cx="2657475" cy="534368"/>
          </a:xfrm>
        </p:grpSpPr>
        <p:sp>
          <p:nvSpPr>
            <p:cNvPr id="9" name="Textfeld 8">
              <a:extLst>
                <a:ext uri="{FF2B5EF4-FFF2-40B4-BE49-F238E27FC236}">
                  <a16:creationId xmlns:a16="http://schemas.microsoft.com/office/drawing/2014/main" id="{3D5133D2-BC0C-E73C-3421-18CDCC7948B6}"/>
                </a:ext>
              </a:extLst>
            </p:cNvPr>
            <p:cNvSpPr txBox="1">
              <a:spLocks/>
            </p:cNvSpPr>
            <p:nvPr/>
          </p:nvSpPr>
          <p:spPr>
            <a:xfrm>
              <a:off x="8166735" y="3208957"/>
              <a:ext cx="2272665" cy="534368"/>
            </a:xfrm>
            <a:prstGeom prst="rect">
              <a:avLst/>
            </a:prstGeom>
            <a:noFill/>
          </p:spPr>
          <p:txBody>
            <a:bodyPr wrap="square" lIns="0" tIns="0" rIns="0" bIns="72000" rtlCol="0" anchor="b">
              <a:spAutoFit/>
            </a:bodyPr>
            <a:lstStyle/>
            <a:p>
              <a:pPr algn="r"/>
              <a:r>
                <a:rPr lang="de-DE" b="1" dirty="0">
                  <a:solidFill>
                    <a:schemeClr val="bg1"/>
                  </a:solidFill>
                  <a:latin typeface="Calibri" panose="020F0502020204030204" pitchFamily="34" charset="0"/>
                  <a:ea typeface="Akkurat LL" panose="020B0504020101010102" pitchFamily="34" charset="-126"/>
                </a:rPr>
                <a:t>56%</a:t>
              </a:r>
            </a:p>
            <a:p>
              <a:pPr algn="r"/>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3" name="Gerader Verbinder 12">
              <a:extLst>
                <a:ext uri="{FF2B5EF4-FFF2-40B4-BE49-F238E27FC236}">
                  <a16:creationId xmlns:a16="http://schemas.microsoft.com/office/drawing/2014/main" id="{BDF112B4-DF31-B8B5-5095-39A9DA5F80D8}"/>
                </a:ext>
              </a:extLst>
            </p:cNvPr>
            <p:cNvCxnSpPr>
              <a:cxnSpLocks/>
            </p:cNvCxnSpPr>
            <p:nvPr/>
          </p:nvCxnSpPr>
          <p:spPr>
            <a:xfrm>
              <a:off x="7781925" y="3743325"/>
              <a:ext cx="26574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7F53DC9F-04B5-6864-C628-EC83416396AA}"/>
              </a:ext>
            </a:extLst>
          </p:cNvPr>
          <p:cNvGrpSpPr/>
          <p:nvPr/>
        </p:nvGrpSpPr>
        <p:grpSpPr>
          <a:xfrm>
            <a:off x="2238374" y="2740871"/>
            <a:ext cx="2583997" cy="534368"/>
            <a:chOff x="2238374" y="2740871"/>
            <a:chExt cx="2583997" cy="534368"/>
          </a:xfrm>
        </p:grpSpPr>
        <p:sp>
          <p:nvSpPr>
            <p:cNvPr id="11" name="Textfeld 10">
              <a:extLst>
                <a:ext uri="{FF2B5EF4-FFF2-40B4-BE49-F238E27FC236}">
                  <a16:creationId xmlns:a16="http://schemas.microsoft.com/office/drawing/2014/main" id="{D85B7349-E951-B004-E1E7-1533FE55948F}"/>
                </a:ext>
              </a:extLst>
            </p:cNvPr>
            <p:cNvSpPr txBox="1">
              <a:spLocks/>
            </p:cNvSpPr>
            <p:nvPr/>
          </p:nvSpPr>
          <p:spPr>
            <a:xfrm>
              <a:off x="2238374" y="2740871"/>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cs typeface="Akkurat LL" panose="020B0504020101010102" pitchFamily="34" charset="-126"/>
                </a:rPr>
                <a:t>13%</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4" name="Gerader Verbinder 13">
              <a:extLst>
                <a:ext uri="{FF2B5EF4-FFF2-40B4-BE49-F238E27FC236}">
                  <a16:creationId xmlns:a16="http://schemas.microsoft.com/office/drawing/2014/main" id="{F1C9574F-6E18-0B5B-EAFA-13509A185B8D}"/>
                </a:ext>
              </a:extLst>
            </p:cNvPr>
            <p:cNvCxnSpPr>
              <a:cxnSpLocks/>
            </p:cNvCxnSpPr>
            <p:nvPr/>
          </p:nvCxnSpPr>
          <p:spPr>
            <a:xfrm>
              <a:off x="2238375" y="3275239"/>
              <a:ext cx="258399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320BEDF4-E6A3-7545-2924-F73289717056}"/>
              </a:ext>
            </a:extLst>
          </p:cNvPr>
          <p:cNvGrpSpPr/>
          <p:nvPr/>
        </p:nvGrpSpPr>
        <p:grpSpPr>
          <a:xfrm>
            <a:off x="2238374" y="4542457"/>
            <a:ext cx="2899683" cy="534368"/>
            <a:chOff x="2238374" y="4542457"/>
            <a:chExt cx="2899683" cy="534368"/>
          </a:xfrm>
        </p:grpSpPr>
        <p:sp>
          <p:nvSpPr>
            <p:cNvPr id="10" name="Textfeld 9">
              <a:extLst>
                <a:ext uri="{FF2B5EF4-FFF2-40B4-BE49-F238E27FC236}">
                  <a16:creationId xmlns:a16="http://schemas.microsoft.com/office/drawing/2014/main" id="{265064F8-DB5C-B960-E9C7-9624A2208AC5}"/>
                </a:ext>
              </a:extLst>
            </p:cNvPr>
            <p:cNvSpPr txBox="1">
              <a:spLocks/>
            </p:cNvSpPr>
            <p:nvPr/>
          </p:nvSpPr>
          <p:spPr>
            <a:xfrm>
              <a:off x="2238374" y="4542457"/>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24%</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5" name="Gerader Verbinder 14">
              <a:extLst>
                <a:ext uri="{FF2B5EF4-FFF2-40B4-BE49-F238E27FC236}">
                  <a16:creationId xmlns:a16="http://schemas.microsoft.com/office/drawing/2014/main" id="{8A51FCFB-C9C8-3AE5-78ED-C7D9D84919CC}"/>
                </a:ext>
              </a:extLst>
            </p:cNvPr>
            <p:cNvCxnSpPr>
              <a:cxnSpLocks/>
            </p:cNvCxnSpPr>
            <p:nvPr/>
          </p:nvCxnSpPr>
          <p:spPr>
            <a:xfrm>
              <a:off x="2238375" y="5076825"/>
              <a:ext cx="28996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Gruppieren 23">
            <a:extLst>
              <a:ext uri="{FF2B5EF4-FFF2-40B4-BE49-F238E27FC236}">
                <a16:creationId xmlns:a16="http://schemas.microsoft.com/office/drawing/2014/main" id="{B5893233-18ED-0970-89A4-58330B18D70B}"/>
              </a:ext>
            </a:extLst>
          </p:cNvPr>
          <p:cNvGrpSpPr/>
          <p:nvPr/>
        </p:nvGrpSpPr>
        <p:grpSpPr>
          <a:xfrm>
            <a:off x="2238374" y="1948934"/>
            <a:ext cx="3433083" cy="534368"/>
            <a:chOff x="2238374" y="1948934"/>
            <a:chExt cx="3433083" cy="534368"/>
          </a:xfrm>
        </p:grpSpPr>
        <p:sp>
          <p:nvSpPr>
            <p:cNvPr id="12" name="Textfeld 11">
              <a:extLst>
                <a:ext uri="{FF2B5EF4-FFF2-40B4-BE49-F238E27FC236}">
                  <a16:creationId xmlns:a16="http://schemas.microsoft.com/office/drawing/2014/main" id="{8C9285E6-8AD7-6D08-631B-B759999415C9}"/>
                </a:ext>
              </a:extLst>
            </p:cNvPr>
            <p:cNvSpPr txBox="1">
              <a:spLocks/>
            </p:cNvSpPr>
            <p:nvPr/>
          </p:nvSpPr>
          <p:spPr>
            <a:xfrm>
              <a:off x="2238374" y="1948934"/>
              <a:ext cx="2272665" cy="534368"/>
            </a:xfrm>
            <a:prstGeom prst="rect">
              <a:avLst/>
            </a:prstGeom>
            <a:noFill/>
          </p:spPr>
          <p:txBody>
            <a:bodyPr wrap="square" lIns="0" tIns="0" rIns="0" bIns="72000" rtlCol="0" anchor="b">
              <a:spAutoFit/>
            </a:bodyPr>
            <a:lstStyle/>
            <a:p>
              <a:r>
                <a:rPr lang="de-DE" b="1" dirty="0">
                  <a:solidFill>
                    <a:schemeClr val="bg1"/>
                  </a:solidFill>
                  <a:latin typeface="Calibri" panose="020F0502020204030204" pitchFamily="34" charset="0"/>
                  <a:ea typeface="Akkurat LL" panose="020B0504020101010102" pitchFamily="34" charset="-126"/>
                </a:rPr>
                <a:t>7%</a:t>
              </a:r>
            </a:p>
            <a:p>
              <a:r>
                <a:rPr lang="de-DE" sz="1200" dirty="0">
                  <a:solidFill>
                    <a:schemeClr val="bg1"/>
                  </a:solidFill>
                  <a:latin typeface="Calibri" panose="020F0502020204030204" pitchFamily="34" charset="0"/>
                  <a:ea typeface="Akkurat LL" panose="020B0504020101010102" pitchFamily="34" charset="-126"/>
                  <a:cs typeface="Akkurat LL" panose="020B0504020101010102" pitchFamily="34" charset="-126"/>
                </a:rPr>
                <a:t>Ich bin ein kleines Label</a:t>
              </a:r>
            </a:p>
          </p:txBody>
        </p:sp>
        <p:cxnSp>
          <p:nvCxnSpPr>
            <p:cNvPr id="16" name="Gerader Verbinder 15">
              <a:extLst>
                <a:ext uri="{FF2B5EF4-FFF2-40B4-BE49-F238E27FC236}">
                  <a16:creationId xmlns:a16="http://schemas.microsoft.com/office/drawing/2014/main" id="{1C2FC922-B583-4A93-4B00-F5356F0BCF87}"/>
                </a:ext>
              </a:extLst>
            </p:cNvPr>
            <p:cNvCxnSpPr>
              <a:cxnSpLocks/>
            </p:cNvCxnSpPr>
            <p:nvPr/>
          </p:nvCxnSpPr>
          <p:spPr>
            <a:xfrm>
              <a:off x="2238375" y="2483302"/>
              <a:ext cx="34330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Fußzeilenplatzhalter 2">
            <a:extLst>
              <a:ext uri="{FF2B5EF4-FFF2-40B4-BE49-F238E27FC236}">
                <a16:creationId xmlns:a16="http://schemas.microsoft.com/office/drawing/2014/main" id="{F19CB69E-41E4-DA0A-0635-E46D01DA0C96}"/>
              </a:ext>
            </a:extLst>
          </p:cNvPr>
          <p:cNvSpPr>
            <a:spLocks noGrp="1"/>
          </p:cNvSpPr>
          <p:nvPr>
            <p:ph type="ftr" sz="quarter" idx="10"/>
          </p:nvPr>
        </p:nvSpPr>
        <p:spPr/>
        <p:txBody>
          <a:bodyPr/>
          <a:lstStyle/>
          <a:p>
            <a:r>
              <a:rPr lang="de-DE" dirty="0"/>
              <a:t>© msg digital | Titel einfügen | 2024</a:t>
            </a:r>
          </a:p>
        </p:txBody>
      </p:sp>
      <p:sp>
        <p:nvSpPr>
          <p:cNvPr id="5" name="Foliennummernplatzhalter 4">
            <a:extLst>
              <a:ext uri="{FF2B5EF4-FFF2-40B4-BE49-F238E27FC236}">
                <a16:creationId xmlns:a16="http://schemas.microsoft.com/office/drawing/2014/main" id="{30277DCD-716B-DD21-E4C4-5A115163690F}"/>
              </a:ext>
            </a:extLst>
          </p:cNvPr>
          <p:cNvSpPr>
            <a:spLocks noGrp="1"/>
          </p:cNvSpPr>
          <p:nvPr>
            <p:ph type="sldNum" sz="quarter" idx="11"/>
          </p:nvPr>
        </p:nvSpPr>
        <p:spPr/>
        <p:txBody>
          <a:bodyPr/>
          <a:lstStyle/>
          <a:p>
            <a:fld id="{1FBD72F1-A42A-46B0-A7F8-CE6A9835826C}" type="slidenum">
              <a:rPr lang="de-DE" smtClean="0"/>
              <a:pPr/>
              <a:t>35</a:t>
            </a:fld>
            <a:endParaRPr lang="de-DE" dirty="0"/>
          </a:p>
        </p:txBody>
      </p:sp>
    </p:spTree>
    <p:extLst>
      <p:ext uri="{BB962C8B-B14F-4D97-AF65-F5344CB8AC3E}">
        <p14:creationId xmlns:p14="http://schemas.microsoft.com/office/powerpoint/2010/main" val="25729158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82797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1523775" y="2756807"/>
            <a:ext cx="8360454" cy="1661993"/>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6</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1524000" y="2244807"/>
            <a:ext cx="1167096" cy="318924"/>
          </a:xfrm>
        </p:spPr>
        <p:txBody>
          <a:bodyPr/>
          <a:lstStyle/>
          <a:p>
            <a:r>
              <a:rPr lang="de-DE" dirty="0"/>
              <a:t>Was wir tun</a:t>
            </a:r>
          </a:p>
        </p:txBody>
      </p:sp>
    </p:spTree>
    <p:extLst>
      <p:ext uri="{BB962C8B-B14F-4D97-AF65-F5344CB8AC3E}">
        <p14:creationId xmlns:p14="http://schemas.microsoft.com/office/powerpoint/2010/main" val="602519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3277301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4847547" y="2756807"/>
            <a:ext cx="6531653" cy="1292662"/>
          </a:xfrm>
        </p:spPr>
        <p:txBody>
          <a:bodyPr vert="horz"/>
          <a:lstStyle/>
          <a:p>
            <a:r>
              <a:rPr lang="de-DE" dirty="0"/>
              <a:t>Wir bieten </a:t>
            </a:r>
            <a:r>
              <a:rPr lang="de-DE" b="1" dirty="0"/>
              <a:t>umfassende digitale Lösungen</a:t>
            </a:r>
            <a:br>
              <a:rPr lang="de-DE" dirty="0"/>
            </a:br>
            <a:r>
              <a:rPr lang="de-DE" dirty="0"/>
              <a:t>an, die sowohl </a:t>
            </a:r>
            <a:r>
              <a:rPr lang="de-DE" b="1" dirty="0"/>
              <a:t>technische Exzellenz </a:t>
            </a:r>
            <a:r>
              <a:rPr lang="de-DE" dirty="0"/>
              <a:t>als auch </a:t>
            </a:r>
            <a:r>
              <a:rPr lang="de-DE" b="1" dirty="0"/>
              <a:t>unternehmerische Expertise </a:t>
            </a:r>
            <a:r>
              <a:rPr lang="de-DE" dirty="0"/>
              <a:t>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7</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4848225" y="2244807"/>
            <a:ext cx="1167096" cy="318924"/>
          </a:xfrm>
        </p:spPr>
        <p:txBody>
          <a:bodyPr/>
          <a:lstStyle/>
          <a:p>
            <a:r>
              <a:rPr lang="de-DE" dirty="0"/>
              <a:t>Was wir tun</a:t>
            </a:r>
          </a:p>
        </p:txBody>
      </p:sp>
    </p:spTree>
    <p:extLst>
      <p:ext uri="{BB962C8B-B14F-4D97-AF65-F5344CB8AC3E}">
        <p14:creationId xmlns:p14="http://schemas.microsoft.com/office/powerpoint/2010/main" val="30712247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BA847DB-86EE-1EB8-1A5E-3BF044932CB5}"/>
              </a:ext>
            </a:extLst>
          </p:cNvPr>
          <p:cNvGraphicFramePr>
            <a:graphicFrameLocks noChangeAspect="1"/>
          </p:cNvGraphicFramePr>
          <p:nvPr>
            <p:custDataLst>
              <p:tags r:id="rId1"/>
            </p:custDataLst>
            <p:extLst>
              <p:ext uri="{D42A27DB-BD31-4B8C-83A1-F6EECF244321}">
                <p14:modId xmlns:p14="http://schemas.microsoft.com/office/powerpoint/2010/main" val="22949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4BA847DB-86EE-1EB8-1A5E-3BF044932C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10">
            <a:extLst>
              <a:ext uri="{FF2B5EF4-FFF2-40B4-BE49-F238E27FC236}">
                <a16:creationId xmlns:a16="http://schemas.microsoft.com/office/drawing/2014/main" id="{7C279FAB-21C5-DF37-DD75-296B92448377}"/>
              </a:ext>
            </a:extLst>
          </p:cNvPr>
          <p:cNvPicPr>
            <a:picLocks noGrp="1" noChangeAspect="1"/>
          </p:cNvPicPr>
          <p:nvPr>
            <p:ph type="pic" sz="quarter" idx="14"/>
          </p:nvPr>
        </p:nvPicPr>
        <p:blipFill rotWithShape="1">
          <a:blip r:embed="rId5" cstate="screen">
            <a:extLst>
              <a:ext uri="{28A0092B-C50C-407E-A947-70E740481C1C}">
                <a14:useLocalDpi xmlns:a14="http://schemas.microsoft.com/office/drawing/2010/main"/>
              </a:ext>
            </a:extLst>
          </a:blip>
          <a:srcRect t="7886" b="7886"/>
          <a:stretch/>
        </p:blipFill>
        <p:spPr>
          <a:xfrm>
            <a:off x="2" y="1"/>
            <a:ext cx="12191999" cy="6857999"/>
          </a:xfrm>
        </p:spPr>
      </p:pic>
      <p:sp>
        <p:nvSpPr>
          <p:cNvPr id="2" name="Titel 1">
            <a:extLst>
              <a:ext uri="{FF2B5EF4-FFF2-40B4-BE49-F238E27FC236}">
                <a16:creationId xmlns:a16="http://schemas.microsoft.com/office/drawing/2014/main" id="{05927A14-4F38-6AB1-9593-07F616DB220F}"/>
              </a:ext>
            </a:extLst>
          </p:cNvPr>
          <p:cNvSpPr>
            <a:spLocks noGrp="1"/>
          </p:cNvSpPr>
          <p:nvPr>
            <p:ph type="title"/>
          </p:nvPr>
        </p:nvSpPr>
        <p:spPr>
          <a:xfrm>
            <a:off x="623888" y="620713"/>
            <a:ext cx="5472112" cy="2605087"/>
          </a:xfrm>
        </p:spPr>
        <p:txBody>
          <a:bodyPr vert="horz"/>
          <a:lstStyle/>
          <a:p>
            <a:r>
              <a:rPr lang="de-DE" dirty="0"/>
              <a:t>Wir bieten </a:t>
            </a:r>
            <a:r>
              <a:rPr lang="de-DE" b="1" dirty="0"/>
              <a:t>umfassende digitale Lösungen</a:t>
            </a:r>
            <a:r>
              <a:rPr lang="de-DE" dirty="0"/>
              <a:t> an, die sowohl </a:t>
            </a:r>
            <a:r>
              <a:rPr lang="de-DE" b="1" dirty="0"/>
              <a:t>technische Exzellenz</a:t>
            </a:r>
            <a:r>
              <a:rPr lang="de-DE" dirty="0"/>
              <a:t> als auch </a:t>
            </a:r>
            <a:r>
              <a:rPr lang="de-DE" b="1" dirty="0"/>
              <a:t>unternehmerische Expertise</a:t>
            </a:r>
            <a:r>
              <a:rPr lang="de-DE" dirty="0"/>
              <a:t> vereinen.</a:t>
            </a:r>
          </a:p>
        </p:txBody>
      </p:sp>
      <p:sp>
        <p:nvSpPr>
          <p:cNvPr id="3" name="Fußzeilenplatzhalter 2">
            <a:extLst>
              <a:ext uri="{FF2B5EF4-FFF2-40B4-BE49-F238E27FC236}">
                <a16:creationId xmlns:a16="http://schemas.microsoft.com/office/drawing/2014/main" id="{60A57CA0-792C-83A8-E226-6317FBD8C3F9}"/>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E292BBE1-F249-D61E-45B9-C811650DFF30}"/>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8</a:t>
            </a:fld>
            <a:endParaRPr lang="de-DE" dirty="0"/>
          </a:p>
        </p:txBody>
      </p:sp>
      <p:sp>
        <p:nvSpPr>
          <p:cNvPr id="5" name="Textplatzhalter 4">
            <a:extLst>
              <a:ext uri="{FF2B5EF4-FFF2-40B4-BE49-F238E27FC236}">
                <a16:creationId xmlns:a16="http://schemas.microsoft.com/office/drawing/2014/main" id="{46ECD21B-9519-6D38-8CB2-178C76B07667}"/>
              </a:ext>
            </a:extLst>
          </p:cNvPr>
          <p:cNvSpPr>
            <a:spLocks noGrp="1"/>
          </p:cNvSpPr>
          <p:nvPr>
            <p:ph type="body" sz="quarter" idx="12"/>
          </p:nvPr>
        </p:nvSpPr>
        <p:spPr>
          <a:xfrm>
            <a:off x="876300" y="873207"/>
            <a:ext cx="1167096" cy="318924"/>
          </a:xfrm>
        </p:spPr>
        <p:txBody>
          <a:bodyPr/>
          <a:lstStyle/>
          <a:p>
            <a:r>
              <a:rPr lang="de-DE" dirty="0"/>
              <a:t>Was wir tun</a:t>
            </a:r>
          </a:p>
        </p:txBody>
      </p:sp>
    </p:spTree>
    <p:extLst>
      <p:ext uri="{BB962C8B-B14F-4D97-AF65-F5344CB8AC3E}">
        <p14:creationId xmlns:p14="http://schemas.microsoft.com/office/powerpoint/2010/main" val="4068479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D5BB44-21BB-583A-1D2A-8895D6347204}"/>
              </a:ext>
            </a:extLst>
          </p:cNvPr>
          <p:cNvGraphicFramePr>
            <a:graphicFrameLocks noChangeAspect="1"/>
          </p:cNvGraphicFramePr>
          <p:nvPr>
            <p:custDataLst>
              <p:tags r:id="rId1"/>
            </p:custDataLst>
            <p:extLst>
              <p:ext uri="{D42A27DB-BD31-4B8C-83A1-F6EECF244321}">
                <p14:modId xmlns:p14="http://schemas.microsoft.com/office/powerpoint/2010/main" val="3662305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CFD5BB44-21BB-583A-1D2A-8895D6347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E111F4AC-E663-D8E0-BFDE-893A4212E4AE}"/>
              </a:ext>
            </a:extLst>
          </p:cNvPr>
          <p:cNvSpPr>
            <a:spLocks noGrp="1"/>
          </p:cNvSpPr>
          <p:nvPr>
            <p:ph type="title"/>
          </p:nvPr>
        </p:nvSpPr>
        <p:spPr>
          <a:xfrm>
            <a:off x="623888" y="620713"/>
            <a:ext cx="9488833" cy="738664"/>
          </a:xfrm>
        </p:spPr>
        <p:txBody>
          <a:bodyPr vert="horz"/>
          <a:lstStyle/>
          <a:p>
            <a:r>
              <a:rPr lang="de-DE" b="1" dirty="0"/>
              <a:t>Data Driven CX </a:t>
            </a:r>
            <a:r>
              <a:rPr lang="de-DE" dirty="0"/>
              <a:t>als Basis für eine </a:t>
            </a:r>
            <a:br>
              <a:rPr lang="de-DE" dirty="0"/>
            </a:br>
            <a:r>
              <a:rPr lang="de-DE" dirty="0"/>
              <a:t>erfolgreiche Differenzierung.</a:t>
            </a:r>
          </a:p>
        </p:txBody>
      </p:sp>
      <p:sp>
        <p:nvSpPr>
          <p:cNvPr id="3" name="Fußzeilenplatzhalter 2">
            <a:extLst>
              <a:ext uri="{FF2B5EF4-FFF2-40B4-BE49-F238E27FC236}">
                <a16:creationId xmlns:a16="http://schemas.microsoft.com/office/drawing/2014/main" id="{6204A2AB-7C07-4913-1A24-10F9A8D507FC}"/>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1B6D9E45-FAAC-1324-8248-6B9042368074}"/>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39</a:t>
            </a:fld>
            <a:endParaRPr lang="de-DE" dirty="0"/>
          </a:p>
        </p:txBody>
      </p:sp>
      <p:sp>
        <p:nvSpPr>
          <p:cNvPr id="7" name="Textplatzhalter 6">
            <a:extLst>
              <a:ext uri="{FF2B5EF4-FFF2-40B4-BE49-F238E27FC236}">
                <a16:creationId xmlns:a16="http://schemas.microsoft.com/office/drawing/2014/main" id="{C526D4DF-6B17-2F45-C21E-32123D18471A}"/>
              </a:ext>
            </a:extLst>
          </p:cNvPr>
          <p:cNvSpPr>
            <a:spLocks noGrp="1"/>
          </p:cNvSpPr>
          <p:nvPr>
            <p:ph type="body" sz="quarter" idx="12"/>
          </p:nvPr>
        </p:nvSpPr>
        <p:spPr>
          <a:xfrm>
            <a:off x="623888" y="296523"/>
            <a:ext cx="2097864" cy="241980"/>
          </a:xfrm>
        </p:spPr>
        <p:txBody>
          <a:bodyPr/>
          <a:lstStyle/>
          <a:p>
            <a:r>
              <a:rPr lang="de-DE" dirty="0"/>
              <a:t>Der Customer </a:t>
            </a:r>
            <a:r>
              <a:rPr lang="de-DE" dirty="0" err="1"/>
              <a:t>Centricity</a:t>
            </a:r>
            <a:r>
              <a:rPr lang="de-DE" dirty="0"/>
              <a:t> Kreislauf</a:t>
            </a:r>
          </a:p>
        </p:txBody>
      </p:sp>
      <p:sp>
        <p:nvSpPr>
          <p:cNvPr id="22" name="Ellipse 21">
            <a:extLst>
              <a:ext uri="{FF2B5EF4-FFF2-40B4-BE49-F238E27FC236}">
                <a16:creationId xmlns:a16="http://schemas.microsoft.com/office/drawing/2014/main" id="{FBC6E0FF-4942-56FB-42F0-FD0065D82771}"/>
              </a:ext>
            </a:extLst>
          </p:cNvPr>
          <p:cNvSpPr>
            <a:spLocks/>
          </p:cNvSpPr>
          <p:nvPr/>
        </p:nvSpPr>
        <p:spPr>
          <a:xfrm flipH="1">
            <a:off x="7920961"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sp>
        <p:nvSpPr>
          <p:cNvPr id="23" name="Ellipse 33">
            <a:extLst>
              <a:ext uri="{FF2B5EF4-FFF2-40B4-BE49-F238E27FC236}">
                <a16:creationId xmlns:a16="http://schemas.microsoft.com/office/drawing/2014/main" id="{747D6A2F-42A0-D9DE-2593-D0A58190C19A}"/>
              </a:ext>
            </a:extLst>
          </p:cNvPr>
          <p:cNvSpPr>
            <a:spLocks/>
          </p:cNvSpPr>
          <p:nvPr/>
        </p:nvSpPr>
        <p:spPr>
          <a:xfrm flipH="1">
            <a:off x="5033256"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23"/>
            <a:endParaRPr lang="de-DE" sz="1801">
              <a:solidFill>
                <a:srgbClr val="FFFFFF"/>
              </a:solidFill>
              <a:cs typeface="Arial" pitchFamily="34" charset="0"/>
            </a:endParaRPr>
          </a:p>
        </p:txBody>
      </p:sp>
      <p:sp>
        <p:nvSpPr>
          <p:cNvPr id="24" name="Ellipse 47">
            <a:extLst>
              <a:ext uri="{FF2B5EF4-FFF2-40B4-BE49-F238E27FC236}">
                <a16:creationId xmlns:a16="http://schemas.microsoft.com/office/drawing/2014/main" id="{0FA8029B-0411-0F07-5D08-D36F8B00A19C}"/>
              </a:ext>
            </a:extLst>
          </p:cNvPr>
          <p:cNvSpPr>
            <a:spLocks/>
          </p:cNvSpPr>
          <p:nvPr/>
        </p:nvSpPr>
        <p:spPr>
          <a:xfrm flipH="1">
            <a:off x="5201531" y="3328670"/>
            <a:ext cx="1548000"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Verbesserte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Angebote &amp; </a:t>
            </a:r>
          </a:p>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chemeClr val="tx1"/>
                </a:solidFill>
                <a:effectLst/>
                <a:uLnTx/>
                <a:uFillTx/>
                <a:ea typeface="+mj-ea"/>
                <a:cs typeface="Arial" pitchFamily="34" charset="0"/>
              </a:rPr>
              <a:t>höherer CLV</a:t>
            </a:r>
          </a:p>
        </p:txBody>
      </p:sp>
      <p:sp>
        <p:nvSpPr>
          <p:cNvPr id="25" name="Zylinder 24">
            <a:extLst>
              <a:ext uri="{FF2B5EF4-FFF2-40B4-BE49-F238E27FC236}">
                <a16:creationId xmlns:a16="http://schemas.microsoft.com/office/drawing/2014/main" id="{8BF7FB35-D8E3-4E7E-CECB-005EDE495E83}"/>
              </a:ext>
            </a:extLst>
          </p:cNvPr>
          <p:cNvSpPr>
            <a:spLocks/>
          </p:cNvSpPr>
          <p:nvPr/>
        </p:nvSpPr>
        <p:spPr>
          <a:xfrm>
            <a:off x="8377804" y="3472815"/>
            <a:ext cx="1008000" cy="1259710"/>
          </a:xfrm>
          <a:prstGeom prst="ca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Customer Insights</a:t>
            </a:r>
          </a:p>
        </p:txBody>
      </p:sp>
      <p:sp>
        <p:nvSpPr>
          <p:cNvPr id="26" name="Textfeld 25">
            <a:extLst>
              <a:ext uri="{FF2B5EF4-FFF2-40B4-BE49-F238E27FC236}">
                <a16:creationId xmlns:a16="http://schemas.microsoft.com/office/drawing/2014/main" id="{6C2BF980-AD36-744E-83B9-96B8501009F4}"/>
              </a:ext>
            </a:extLst>
          </p:cNvPr>
          <p:cNvSpPr txBox="1">
            <a:spLocks/>
          </p:cNvSpPr>
          <p:nvPr/>
        </p:nvSpPr>
        <p:spPr>
          <a:xfrm flipH="1">
            <a:off x="2254884" y="2855429"/>
            <a:ext cx="1552797"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EFFFF"/>
                </a:solidFill>
                <a:effectLst/>
                <a:uLnTx/>
                <a:uFillTx/>
                <a:ea typeface="Roboto" charset="0"/>
                <a:cs typeface="Roboto" charset="0"/>
              </a:rPr>
              <a:t>Customer Experience</a:t>
            </a:r>
          </a:p>
        </p:txBody>
      </p:sp>
      <p:sp>
        <p:nvSpPr>
          <p:cNvPr id="27" name="Textfeld 26">
            <a:extLst>
              <a:ext uri="{FF2B5EF4-FFF2-40B4-BE49-F238E27FC236}">
                <a16:creationId xmlns:a16="http://schemas.microsoft.com/office/drawing/2014/main" id="{9144A251-0FE8-9258-D07C-13B7BEAF0D95}"/>
              </a:ext>
            </a:extLst>
          </p:cNvPr>
          <p:cNvSpPr txBox="1">
            <a:spLocks/>
          </p:cNvSpPr>
          <p:nvPr/>
        </p:nvSpPr>
        <p:spPr>
          <a:xfrm flipH="1">
            <a:off x="4447743" y="2855428"/>
            <a:ext cx="3055577" cy="215444"/>
          </a:xfrm>
          <a:prstGeom prst="rect">
            <a:avLst/>
          </a:prstGeom>
          <a:noFill/>
        </p:spPr>
        <p:txBody>
          <a:bodyPr wrap="squar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EFFFF"/>
                </a:solidFill>
                <a:effectLst/>
                <a:uLnTx/>
                <a:uFillTx/>
                <a:ea typeface="Roboto" charset="0"/>
                <a:cs typeface="Roboto" charset="0"/>
              </a:rPr>
              <a:t>Customer </a:t>
            </a:r>
            <a:r>
              <a:rPr kumimoji="0" lang="de-DE" sz="1400" b="1" i="0" u="none" strike="noStrike" kern="1200" cap="none" spc="0" normalizeH="0" baseline="0" noProof="0" dirty="0" err="1">
                <a:ln>
                  <a:noFill/>
                </a:ln>
                <a:solidFill>
                  <a:srgbClr val="FEFFFF"/>
                </a:solidFill>
                <a:effectLst/>
                <a:uLnTx/>
                <a:uFillTx/>
                <a:ea typeface="Roboto" charset="0"/>
                <a:cs typeface="Roboto" charset="0"/>
              </a:rPr>
              <a:t>Centricity</a:t>
            </a:r>
            <a:endParaRPr kumimoji="0" lang="de-DE" sz="1400" b="1" i="0" u="none" strike="noStrike" kern="1200" cap="none" spc="0" normalizeH="0" baseline="0" noProof="0" dirty="0">
              <a:ln>
                <a:noFill/>
              </a:ln>
              <a:solidFill>
                <a:srgbClr val="FEFFFF"/>
              </a:solidFill>
              <a:effectLst/>
              <a:uLnTx/>
              <a:uFillTx/>
              <a:ea typeface="Roboto" charset="0"/>
              <a:cs typeface="Roboto" charset="0"/>
            </a:endParaRPr>
          </a:p>
        </p:txBody>
      </p:sp>
      <p:sp>
        <p:nvSpPr>
          <p:cNvPr id="28" name="Textfeld 27">
            <a:extLst>
              <a:ext uri="{FF2B5EF4-FFF2-40B4-BE49-F238E27FC236}">
                <a16:creationId xmlns:a16="http://schemas.microsoft.com/office/drawing/2014/main" id="{BCD85BA1-AB4A-6CB0-D3EF-39FDA4752100}"/>
              </a:ext>
            </a:extLst>
          </p:cNvPr>
          <p:cNvSpPr txBox="1">
            <a:spLocks/>
          </p:cNvSpPr>
          <p:nvPr/>
        </p:nvSpPr>
        <p:spPr>
          <a:xfrm flipH="1">
            <a:off x="5638800" y="5626452"/>
            <a:ext cx="673462"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mn-ea"/>
                <a:cs typeface="Arial" pitchFamily="34" charset="0"/>
              </a:rPr>
              <a:t>liefert</a:t>
            </a:r>
          </a:p>
        </p:txBody>
      </p:sp>
      <p:sp>
        <p:nvSpPr>
          <p:cNvPr id="29" name="Textfeld 28">
            <a:extLst>
              <a:ext uri="{FF2B5EF4-FFF2-40B4-BE49-F238E27FC236}">
                <a16:creationId xmlns:a16="http://schemas.microsoft.com/office/drawing/2014/main" id="{AFFD36F2-035E-69E1-3CA7-7CA76639F6EE}"/>
              </a:ext>
            </a:extLst>
          </p:cNvPr>
          <p:cNvSpPr txBox="1">
            <a:spLocks/>
          </p:cNvSpPr>
          <p:nvPr/>
        </p:nvSpPr>
        <p:spPr>
          <a:xfrm flipH="1">
            <a:off x="5327018" y="2073454"/>
            <a:ext cx="1297026" cy="246221"/>
          </a:xfrm>
          <a:prstGeom prst="rect">
            <a:avLst/>
          </a:prstGeom>
          <a:noFill/>
        </p:spPr>
        <p:txBody>
          <a:bodyPr wrap="square" lIns="0" tIns="0" rIns="0" bIns="0" rtlCol="0" anchor="ctr">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DFAFF"/>
                </a:solidFill>
                <a:effectLst/>
                <a:uLnTx/>
                <a:uFillTx/>
                <a:ea typeface="Roboto" charset="0"/>
                <a:cs typeface="Roboto" charset="0"/>
              </a:rPr>
              <a:t>verbessert</a:t>
            </a:r>
          </a:p>
        </p:txBody>
      </p:sp>
      <p:sp>
        <p:nvSpPr>
          <p:cNvPr id="30" name="Textfeld 29">
            <a:extLst>
              <a:ext uri="{FF2B5EF4-FFF2-40B4-BE49-F238E27FC236}">
                <a16:creationId xmlns:a16="http://schemas.microsoft.com/office/drawing/2014/main" id="{99F08D45-D19A-505E-72CD-A77737525DA4}"/>
              </a:ext>
            </a:extLst>
          </p:cNvPr>
          <p:cNvSpPr txBox="1">
            <a:spLocks/>
          </p:cNvSpPr>
          <p:nvPr/>
        </p:nvSpPr>
        <p:spPr>
          <a:xfrm flipH="1">
            <a:off x="8367993" y="2855429"/>
            <a:ext cx="1088888" cy="215444"/>
          </a:xfrm>
          <a:prstGeom prst="rect">
            <a:avLst/>
          </a:prstGeom>
          <a:noFill/>
        </p:spPr>
        <p:txBody>
          <a:bodyPr wrap="none" lIns="0" tIns="0" rIns="0" bIns="0" rtlCol="0" anchor="ctr">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EFFFF"/>
                </a:solidFill>
                <a:effectLst/>
                <a:uLnTx/>
                <a:uFillTx/>
                <a:ea typeface="Roboto" charset="0"/>
                <a:cs typeface="Roboto" charset="0"/>
              </a:rPr>
              <a:t>Customer Data</a:t>
            </a:r>
          </a:p>
        </p:txBody>
      </p:sp>
      <p:sp>
        <p:nvSpPr>
          <p:cNvPr id="31" name="Ellipse 39">
            <a:extLst>
              <a:ext uri="{FF2B5EF4-FFF2-40B4-BE49-F238E27FC236}">
                <a16:creationId xmlns:a16="http://schemas.microsoft.com/office/drawing/2014/main" id="{AB62031F-F56F-F968-ED89-F7909627C758}"/>
              </a:ext>
            </a:extLst>
          </p:cNvPr>
          <p:cNvSpPr/>
          <p:nvPr/>
        </p:nvSpPr>
        <p:spPr>
          <a:xfrm flipH="1">
            <a:off x="2281680" y="3342462"/>
            <a:ext cx="1515925" cy="1515925"/>
          </a:xfrm>
          <a:prstGeom prst="ellipse">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401" b="0" i="0" u="none" strike="noStrike" kern="1200" cap="none" spc="0" normalizeH="0" baseline="0" noProof="0">
                <a:ln>
                  <a:noFill/>
                </a:ln>
                <a:solidFill>
                  <a:srgbClr val="000000"/>
                </a:solidFill>
                <a:effectLst/>
                <a:uLnTx/>
                <a:uFillTx/>
                <a:ea typeface="+mn-ea"/>
                <a:cs typeface="Arial" pitchFamily="34" charset="0"/>
              </a:rPr>
              <a:t>Transformation</a:t>
            </a:r>
          </a:p>
        </p:txBody>
      </p:sp>
      <p:sp>
        <p:nvSpPr>
          <p:cNvPr id="45" name="Ellipse 38">
            <a:extLst>
              <a:ext uri="{FF2B5EF4-FFF2-40B4-BE49-F238E27FC236}">
                <a16:creationId xmlns:a16="http://schemas.microsoft.com/office/drawing/2014/main" id="{CB7BDB17-86A6-8801-786E-D4EB55D7F1AC}"/>
              </a:ext>
            </a:extLst>
          </p:cNvPr>
          <p:cNvSpPr>
            <a:spLocks/>
          </p:cNvSpPr>
          <p:nvPr/>
        </p:nvSpPr>
        <p:spPr>
          <a:xfrm flipH="1">
            <a:off x="2097368" y="3160395"/>
            <a:ext cx="1884550" cy="1884550"/>
          </a:xfrm>
          <a:prstGeom prst="ellipse">
            <a:avLst/>
          </a:prstGeom>
          <a:solidFill>
            <a:schemeClr val="tx1"/>
          </a:solidFill>
          <a:ln w="9525">
            <a:solidFill>
              <a:schemeClr val="tx2"/>
            </a:solidFill>
          </a:ln>
          <a:effectLst>
            <a:outerShdw blurRad="355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kumimoji="0" lang="de-DE" sz="1801" b="0" i="0" u="none" strike="noStrike" kern="1200" cap="none" spc="0" normalizeH="0" baseline="0" noProof="0">
              <a:ln>
                <a:noFill/>
              </a:ln>
              <a:solidFill>
                <a:srgbClr val="FFFFFF"/>
              </a:solidFill>
              <a:effectLst/>
              <a:uLnTx/>
              <a:uFillTx/>
              <a:ea typeface="+mn-ea"/>
              <a:cs typeface="Arial" pitchFamily="34" charset="0"/>
            </a:endParaRPr>
          </a:p>
        </p:txBody>
      </p:sp>
      <p:pic>
        <p:nvPicPr>
          <p:cNvPr id="46" name="Grafik 45">
            <a:extLst>
              <a:ext uri="{FF2B5EF4-FFF2-40B4-BE49-F238E27FC236}">
                <a16:creationId xmlns:a16="http://schemas.microsoft.com/office/drawing/2014/main" id="{7B1F0AFD-AC6A-9DCD-1D52-6B94DBA6B28B}"/>
              </a:ext>
            </a:extLst>
          </p:cNvPr>
          <p:cNvPicPr>
            <a:picLocks noChangeAspect="1"/>
          </p:cNvPicPr>
          <p:nvPr/>
        </p:nvPicPr>
        <p:blipFill rotWithShape="1">
          <a:blip r:embed="rId5"/>
          <a:srcRect l="12709" t="1104" r="21427"/>
          <a:stretch/>
        </p:blipFill>
        <p:spPr>
          <a:xfrm>
            <a:off x="2265643" y="3328670"/>
            <a:ext cx="1548000" cy="1548000"/>
          </a:xfrm>
          <a:prstGeom prst="ellipse">
            <a:avLst/>
          </a:prstGeom>
        </p:spPr>
      </p:pic>
      <p:sp>
        <p:nvSpPr>
          <p:cNvPr id="48" name="Textfeld 47">
            <a:extLst>
              <a:ext uri="{FF2B5EF4-FFF2-40B4-BE49-F238E27FC236}">
                <a16:creationId xmlns:a16="http://schemas.microsoft.com/office/drawing/2014/main" id="{B633AD09-BCDD-7D65-074F-6E3B9966EEC7}"/>
              </a:ext>
            </a:extLst>
          </p:cNvPr>
          <p:cNvSpPr txBox="1">
            <a:spLocks/>
          </p:cNvSpPr>
          <p:nvPr/>
        </p:nvSpPr>
        <p:spPr>
          <a:xfrm>
            <a:off x="2367081" y="3933393"/>
            <a:ext cx="787599" cy="338554"/>
          </a:xfrm>
          <a:prstGeom prst="rect">
            <a:avLst/>
          </a:prstGeom>
          <a:noFill/>
        </p:spPr>
        <p:txBody>
          <a:bodyPr wrap="square" lIns="0" tIns="0" rIns="0" bIns="0">
            <a:spAutoFit/>
          </a:bodyPr>
          <a:lstStyle/>
          <a:p>
            <a:pPr marL="0" marR="0" lvl="0" indent="0" defTabSz="91442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j-ea"/>
                <a:cs typeface="Arial" pitchFamily="34" charset="0"/>
              </a:rPr>
              <a:t>Owned </a:t>
            </a:r>
            <a:br>
              <a:rPr kumimoji="0" lang="en-US" sz="1100" b="1" i="0" u="none" strike="noStrike" kern="1200" cap="none" spc="0" normalizeH="0" baseline="0" noProof="0" dirty="0">
                <a:ln>
                  <a:noFill/>
                </a:ln>
                <a:solidFill>
                  <a:srgbClr val="FFFFFF"/>
                </a:solidFill>
                <a:effectLst/>
                <a:uLnTx/>
                <a:uFillTx/>
                <a:ea typeface="+mj-ea"/>
                <a:cs typeface="Arial" pitchFamily="34" charset="0"/>
              </a:rPr>
            </a:br>
            <a:r>
              <a:rPr kumimoji="0" lang="en-US" sz="1100" b="1" i="0" u="none" strike="noStrike" kern="1200" cap="none" spc="0" normalizeH="0" baseline="0" noProof="0" dirty="0">
                <a:ln>
                  <a:noFill/>
                </a:ln>
                <a:solidFill>
                  <a:srgbClr val="FFFFFF"/>
                </a:solidFill>
                <a:effectLst/>
                <a:uLnTx/>
                <a:uFillTx/>
                <a:ea typeface="+mj-ea"/>
                <a:cs typeface="Arial" pitchFamily="34" charset="0"/>
              </a:rPr>
              <a:t>Touchpoint</a:t>
            </a:r>
          </a:p>
        </p:txBody>
      </p:sp>
      <p:grpSp>
        <p:nvGrpSpPr>
          <p:cNvPr id="86" name="Gruppieren 85">
            <a:extLst>
              <a:ext uri="{FF2B5EF4-FFF2-40B4-BE49-F238E27FC236}">
                <a16:creationId xmlns:a16="http://schemas.microsoft.com/office/drawing/2014/main" id="{C6E9A532-0862-AAE4-467A-E2B3E6934ED4}"/>
              </a:ext>
            </a:extLst>
          </p:cNvPr>
          <p:cNvGrpSpPr/>
          <p:nvPr/>
        </p:nvGrpSpPr>
        <p:grpSpPr>
          <a:xfrm>
            <a:off x="4058108" y="5378292"/>
            <a:ext cx="748396" cy="726189"/>
            <a:chOff x="4080333" y="5378292"/>
            <a:chExt cx="748396" cy="726189"/>
          </a:xfrm>
        </p:grpSpPr>
        <p:grpSp>
          <p:nvGrpSpPr>
            <p:cNvPr id="71" name="Grafik 49" descr="Pfeil Kreis Silhouette">
              <a:extLst>
                <a:ext uri="{FF2B5EF4-FFF2-40B4-BE49-F238E27FC236}">
                  <a16:creationId xmlns:a16="http://schemas.microsoft.com/office/drawing/2014/main" id="{78FCA636-C6CA-74CB-711B-0EA34E65B4DC}"/>
                </a:ext>
              </a:extLst>
            </p:cNvPr>
            <p:cNvGrpSpPr/>
            <p:nvPr/>
          </p:nvGrpSpPr>
          <p:grpSpPr>
            <a:xfrm>
              <a:off x="4080333" y="5378292"/>
              <a:ext cx="748396" cy="726189"/>
              <a:chOff x="4054933" y="5695792"/>
              <a:chExt cx="748396" cy="726189"/>
            </a:xfrm>
            <a:solidFill>
              <a:schemeClr val="bg1"/>
            </a:solidFill>
          </p:grpSpPr>
          <p:sp>
            <p:nvSpPr>
              <p:cNvPr id="72" name="Freihandform: Form 71">
                <a:extLst>
                  <a:ext uri="{FF2B5EF4-FFF2-40B4-BE49-F238E27FC236}">
                    <a16:creationId xmlns:a16="http://schemas.microsoft.com/office/drawing/2014/main" id="{9AE63B43-54AB-6CBD-4AA2-1F478CC10B96}"/>
                  </a:ext>
                </a:extLst>
              </p:cNvPr>
              <p:cNvSpPr/>
              <p:nvPr/>
            </p:nvSpPr>
            <p:spPr>
              <a:xfrm>
                <a:off x="4499282" y="5896016"/>
                <a:ext cx="304048" cy="525965"/>
              </a:xfrm>
              <a:custGeom>
                <a:avLst/>
                <a:gdLst>
                  <a:gd name="connsiteX0" fmla="*/ 304048 w 304048"/>
                  <a:gd name="connsiteY0" fmla="*/ 134607 h 525965"/>
                  <a:gd name="connsiteX1" fmla="*/ 278957 w 304048"/>
                  <a:gd name="connsiteY1" fmla="*/ 7158 h 525965"/>
                  <a:gd name="connsiteX2" fmla="*/ 263871 w 304048"/>
                  <a:gd name="connsiteY2" fmla="*/ 874 h 525965"/>
                  <a:gd name="connsiteX3" fmla="*/ 257587 w 304048"/>
                  <a:gd name="connsiteY3" fmla="*/ 15960 h 525965"/>
                  <a:gd name="connsiteX4" fmla="*/ 87313 w 304048"/>
                  <a:gd name="connsiteY4" fmla="*/ 423156 h 525965"/>
                  <a:gd name="connsiteX5" fmla="*/ 34201 w 304048"/>
                  <a:gd name="connsiteY5" fmla="*/ 439594 h 525965"/>
                  <a:gd name="connsiteX6" fmla="*/ 34062 w 304048"/>
                  <a:gd name="connsiteY6" fmla="*/ 439421 h 525965"/>
                  <a:gd name="connsiteX7" fmla="*/ 80130 w 304048"/>
                  <a:gd name="connsiteY7" fmla="*/ 357981 h 525965"/>
                  <a:gd name="connsiteX8" fmla="*/ 76884 w 304048"/>
                  <a:gd name="connsiteY8" fmla="*/ 341971 h 525965"/>
                  <a:gd name="connsiteX9" fmla="*/ 60873 w 304048"/>
                  <a:gd name="connsiteY9" fmla="*/ 345217 h 525965"/>
                  <a:gd name="connsiteX10" fmla="*/ 60053 w 304048"/>
                  <a:gd name="connsiteY10" fmla="*/ 346672 h 525965"/>
                  <a:gd name="connsiteX11" fmla="*/ 1498 w 304048"/>
                  <a:gd name="connsiteY11" fmla="*/ 450210 h 525965"/>
                  <a:gd name="connsiteX12" fmla="*/ 5869 w 304048"/>
                  <a:gd name="connsiteY12" fmla="*/ 465951 h 525965"/>
                  <a:gd name="connsiteX13" fmla="*/ 5876 w 304048"/>
                  <a:gd name="connsiteY13" fmla="*/ 465955 h 525965"/>
                  <a:gd name="connsiteX14" fmla="*/ 109217 w 304048"/>
                  <a:gd name="connsiteY14" fmla="*/ 524395 h 525965"/>
                  <a:gd name="connsiteX15" fmla="*/ 125013 w 304048"/>
                  <a:gd name="connsiteY15" fmla="*/ 520224 h 525965"/>
                  <a:gd name="connsiteX16" fmla="*/ 120843 w 304048"/>
                  <a:gd name="connsiteY16" fmla="*/ 504430 h 525965"/>
                  <a:gd name="connsiteX17" fmla="*/ 120584 w 304048"/>
                  <a:gd name="connsiteY17" fmla="*/ 504283 h 525965"/>
                  <a:gd name="connsiteX18" fmla="*/ 44551 w 304048"/>
                  <a:gd name="connsiteY18" fmla="*/ 461288 h 525965"/>
                  <a:gd name="connsiteX19" fmla="*/ 44551 w 304048"/>
                  <a:gd name="connsiteY19" fmla="*/ 461080 h 525965"/>
                  <a:gd name="connsiteX20" fmla="*/ 304048 w 304048"/>
                  <a:gd name="connsiteY20" fmla="*/ 134607 h 52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4048" h="525965">
                    <a:moveTo>
                      <a:pt x="304048" y="134607"/>
                    </a:moveTo>
                    <a:cubicBezTo>
                      <a:pt x="304125" y="90890"/>
                      <a:pt x="295599" y="47584"/>
                      <a:pt x="278957" y="7158"/>
                    </a:cubicBezTo>
                    <a:cubicBezTo>
                      <a:pt x="276527" y="1256"/>
                      <a:pt x="269773" y="-1557"/>
                      <a:pt x="263871" y="874"/>
                    </a:cubicBezTo>
                    <a:cubicBezTo>
                      <a:pt x="257969" y="3304"/>
                      <a:pt x="255156" y="10059"/>
                      <a:pt x="257587" y="15960"/>
                    </a:cubicBezTo>
                    <a:cubicBezTo>
                      <a:pt x="323011" y="175424"/>
                      <a:pt x="246777" y="357732"/>
                      <a:pt x="87313" y="423156"/>
                    </a:cubicBezTo>
                    <a:cubicBezTo>
                      <a:pt x="70133" y="430205"/>
                      <a:pt x="52359" y="435706"/>
                      <a:pt x="34201" y="439594"/>
                    </a:cubicBezTo>
                    <a:cubicBezTo>
                      <a:pt x="34050" y="439594"/>
                      <a:pt x="33993" y="439594"/>
                      <a:pt x="34062" y="439421"/>
                    </a:cubicBezTo>
                    <a:lnTo>
                      <a:pt x="80130" y="357981"/>
                    </a:lnTo>
                    <a:cubicBezTo>
                      <a:pt x="83654" y="352664"/>
                      <a:pt x="82201" y="345495"/>
                      <a:pt x="76884" y="341971"/>
                    </a:cubicBezTo>
                    <a:cubicBezTo>
                      <a:pt x="71567" y="338445"/>
                      <a:pt x="64398" y="339900"/>
                      <a:pt x="60873" y="345217"/>
                    </a:cubicBezTo>
                    <a:cubicBezTo>
                      <a:pt x="60565" y="345681"/>
                      <a:pt x="60291" y="346168"/>
                      <a:pt x="60053" y="346672"/>
                    </a:cubicBezTo>
                    <a:lnTo>
                      <a:pt x="1498" y="450210"/>
                    </a:lnTo>
                    <a:cubicBezTo>
                      <a:pt x="-1642" y="455764"/>
                      <a:pt x="315" y="462812"/>
                      <a:pt x="5869" y="465951"/>
                    </a:cubicBezTo>
                    <a:cubicBezTo>
                      <a:pt x="5871" y="465952"/>
                      <a:pt x="5874" y="465954"/>
                      <a:pt x="5876" y="465955"/>
                    </a:cubicBezTo>
                    <a:lnTo>
                      <a:pt x="109217" y="524395"/>
                    </a:lnTo>
                    <a:cubicBezTo>
                      <a:pt x="114731" y="527605"/>
                      <a:pt x="121803" y="525738"/>
                      <a:pt x="125013" y="520224"/>
                    </a:cubicBezTo>
                    <a:cubicBezTo>
                      <a:pt x="128223" y="514712"/>
                      <a:pt x="126356" y="507640"/>
                      <a:pt x="120843" y="504430"/>
                    </a:cubicBezTo>
                    <a:cubicBezTo>
                      <a:pt x="120757" y="504380"/>
                      <a:pt x="120671" y="504330"/>
                      <a:pt x="120584" y="504283"/>
                    </a:cubicBezTo>
                    <a:lnTo>
                      <a:pt x="44551" y="461288"/>
                    </a:lnTo>
                    <a:cubicBezTo>
                      <a:pt x="44412" y="461207"/>
                      <a:pt x="44435" y="461115"/>
                      <a:pt x="44551" y="461080"/>
                    </a:cubicBezTo>
                    <a:cubicBezTo>
                      <a:pt x="196207" y="425465"/>
                      <a:pt x="303573" y="290388"/>
                      <a:pt x="304048" y="134607"/>
                    </a:cubicBezTo>
                    <a:close/>
                  </a:path>
                </a:pathLst>
              </a:custGeom>
              <a:solidFill>
                <a:schemeClr val="bg1"/>
              </a:solidFill>
              <a:ln w="11509"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E34C84A5-60C5-A26C-C3D5-875BC5CD49FC}"/>
                  </a:ext>
                </a:extLst>
              </p:cNvPr>
              <p:cNvSpPr/>
              <p:nvPr/>
            </p:nvSpPr>
            <p:spPr>
              <a:xfrm>
                <a:off x="4054933" y="5895273"/>
                <a:ext cx="382056" cy="467483"/>
              </a:xfrm>
              <a:custGeom>
                <a:avLst/>
                <a:gdLst>
                  <a:gd name="connsiteX0" fmla="*/ 371962 w 382056"/>
                  <a:gd name="connsiteY0" fmla="*/ 444449 h 467483"/>
                  <a:gd name="connsiteX1" fmla="*/ 257531 w 382056"/>
                  <a:gd name="connsiteY1" fmla="*/ 405358 h 467483"/>
                  <a:gd name="connsiteX2" fmla="*/ 116693 w 382056"/>
                  <a:gd name="connsiteY2" fmla="*/ 39437 h 467483"/>
                  <a:gd name="connsiteX3" fmla="*/ 116901 w 382056"/>
                  <a:gd name="connsiteY3" fmla="*/ 39437 h 467483"/>
                  <a:gd name="connsiteX4" fmla="*/ 164205 w 382056"/>
                  <a:gd name="connsiteY4" fmla="*/ 120021 h 467483"/>
                  <a:gd name="connsiteX5" fmla="*/ 180025 w 382056"/>
                  <a:gd name="connsiteY5" fmla="*/ 124116 h 467483"/>
                  <a:gd name="connsiteX6" fmla="*/ 184120 w 382056"/>
                  <a:gd name="connsiteY6" fmla="*/ 108296 h 467483"/>
                  <a:gd name="connsiteX7" fmla="*/ 123913 w 382056"/>
                  <a:gd name="connsiteY7" fmla="*/ 5706 h 467483"/>
                  <a:gd name="connsiteX8" fmla="*/ 108103 w 382056"/>
                  <a:gd name="connsiteY8" fmla="*/ 1591 h 467483"/>
                  <a:gd name="connsiteX9" fmla="*/ 108099 w 382056"/>
                  <a:gd name="connsiteY9" fmla="*/ 1594 h 467483"/>
                  <a:gd name="connsiteX10" fmla="*/ 5705 w 382056"/>
                  <a:gd name="connsiteY10" fmla="*/ 61662 h 467483"/>
                  <a:gd name="connsiteX11" fmla="*/ 1593 w 382056"/>
                  <a:gd name="connsiteY11" fmla="*/ 77476 h 467483"/>
                  <a:gd name="connsiteX12" fmla="*/ 17407 w 382056"/>
                  <a:gd name="connsiteY12" fmla="*/ 81589 h 467483"/>
                  <a:gd name="connsiteX13" fmla="*/ 92885 w 382056"/>
                  <a:gd name="connsiteY13" fmla="*/ 37288 h 467483"/>
                  <a:gd name="connsiteX14" fmla="*/ 93047 w 382056"/>
                  <a:gd name="connsiteY14" fmla="*/ 37415 h 467483"/>
                  <a:gd name="connsiteX15" fmla="*/ 316039 w 382056"/>
                  <a:gd name="connsiteY15" fmla="*/ 455839 h 467483"/>
                  <a:gd name="connsiteX16" fmla="*/ 368889 w 382056"/>
                  <a:gd name="connsiteY16" fmla="*/ 467379 h 467483"/>
                  <a:gd name="connsiteX17" fmla="*/ 370449 w 382056"/>
                  <a:gd name="connsiteY17" fmla="*/ 467483 h 467483"/>
                  <a:gd name="connsiteX18" fmla="*/ 382056 w 382056"/>
                  <a:gd name="connsiteY18" fmla="*/ 455988 h 467483"/>
                  <a:gd name="connsiteX19" fmla="*/ 371962 w 382056"/>
                  <a:gd name="connsiteY19" fmla="*/ 444472 h 46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056" h="467483">
                    <a:moveTo>
                      <a:pt x="371962" y="444449"/>
                    </a:moveTo>
                    <a:cubicBezTo>
                      <a:pt x="331621" y="439059"/>
                      <a:pt x="292738" y="425776"/>
                      <a:pt x="257531" y="405358"/>
                    </a:cubicBezTo>
                    <a:cubicBezTo>
                      <a:pt x="130573" y="331513"/>
                      <a:pt x="72006" y="179346"/>
                      <a:pt x="116693" y="39437"/>
                    </a:cubicBezTo>
                    <a:cubicBezTo>
                      <a:pt x="116693" y="39298"/>
                      <a:pt x="116832" y="39287"/>
                      <a:pt x="116901" y="39437"/>
                    </a:cubicBezTo>
                    <a:lnTo>
                      <a:pt x="164205" y="120021"/>
                    </a:lnTo>
                    <a:cubicBezTo>
                      <a:pt x="167443" y="125521"/>
                      <a:pt x="174526" y="127354"/>
                      <a:pt x="180025" y="124116"/>
                    </a:cubicBezTo>
                    <a:cubicBezTo>
                      <a:pt x="185525" y="120878"/>
                      <a:pt x="187358" y="113796"/>
                      <a:pt x="184120" y="108296"/>
                    </a:cubicBezTo>
                    <a:lnTo>
                      <a:pt x="123913" y="5706"/>
                    </a:lnTo>
                    <a:cubicBezTo>
                      <a:pt x="120683" y="204"/>
                      <a:pt x="113606" y="-1638"/>
                      <a:pt x="108103" y="1591"/>
                    </a:cubicBezTo>
                    <a:cubicBezTo>
                      <a:pt x="108102" y="1591"/>
                      <a:pt x="108100" y="1593"/>
                      <a:pt x="108099" y="1594"/>
                    </a:cubicBezTo>
                    <a:lnTo>
                      <a:pt x="5705" y="61662"/>
                    </a:lnTo>
                    <a:cubicBezTo>
                      <a:pt x="203" y="64893"/>
                      <a:pt x="-1638" y="71974"/>
                      <a:pt x="1593" y="77476"/>
                    </a:cubicBezTo>
                    <a:cubicBezTo>
                      <a:pt x="4824" y="82979"/>
                      <a:pt x="11905" y="84820"/>
                      <a:pt x="17407" y="81589"/>
                    </a:cubicBezTo>
                    <a:lnTo>
                      <a:pt x="92885" y="37288"/>
                    </a:lnTo>
                    <a:cubicBezTo>
                      <a:pt x="93024" y="37207"/>
                      <a:pt x="93093" y="37288"/>
                      <a:pt x="93047" y="37415"/>
                    </a:cubicBezTo>
                    <a:cubicBezTo>
                      <a:pt x="39080" y="214537"/>
                      <a:pt x="138916" y="401872"/>
                      <a:pt x="316039" y="455839"/>
                    </a:cubicBezTo>
                    <a:cubicBezTo>
                      <a:pt x="333316" y="461103"/>
                      <a:pt x="350990" y="464963"/>
                      <a:pt x="368889" y="467379"/>
                    </a:cubicBezTo>
                    <a:cubicBezTo>
                      <a:pt x="369406" y="467448"/>
                      <a:pt x="369928" y="467483"/>
                      <a:pt x="370449" y="467483"/>
                    </a:cubicBezTo>
                    <a:cubicBezTo>
                      <a:pt x="376829" y="467514"/>
                      <a:pt x="382026" y="462367"/>
                      <a:pt x="382056" y="455988"/>
                    </a:cubicBezTo>
                    <a:cubicBezTo>
                      <a:pt x="382085" y="450150"/>
                      <a:pt x="377753" y="445209"/>
                      <a:pt x="371962" y="444472"/>
                    </a:cubicBezTo>
                    <a:close/>
                  </a:path>
                </a:pathLst>
              </a:custGeom>
              <a:solidFill>
                <a:schemeClr val="bg1"/>
              </a:solidFill>
              <a:ln w="11509"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B344BEF5-185C-009B-D645-7438A44FE074}"/>
                  </a:ext>
                </a:extLst>
              </p:cNvPr>
              <p:cNvSpPr/>
              <p:nvPr/>
            </p:nvSpPr>
            <p:spPr>
              <a:xfrm>
                <a:off x="4200714" y="5695792"/>
                <a:ext cx="536332" cy="149185"/>
              </a:xfrm>
              <a:custGeom>
                <a:avLst/>
                <a:gdLst>
                  <a:gd name="connsiteX0" fmla="*/ 498708 w 536332"/>
                  <a:gd name="connsiteY0" fmla="*/ 125423 h 149185"/>
                  <a:gd name="connsiteX1" fmla="*/ 498627 w 536332"/>
                  <a:gd name="connsiteY1" fmla="*/ 125620 h 149185"/>
                  <a:gd name="connsiteX2" fmla="*/ 405740 w 536332"/>
                  <a:gd name="connsiteY2" fmla="*/ 126082 h 149185"/>
                  <a:gd name="connsiteX3" fmla="*/ 394218 w 536332"/>
                  <a:gd name="connsiteY3" fmla="*/ 137662 h 149185"/>
                  <a:gd name="connsiteX4" fmla="*/ 405798 w 536332"/>
                  <a:gd name="connsiteY4" fmla="*/ 149185 h 149185"/>
                  <a:gd name="connsiteX5" fmla="*/ 405798 w 536332"/>
                  <a:gd name="connsiteY5" fmla="*/ 149185 h 149185"/>
                  <a:gd name="connsiteX6" fmla="*/ 524780 w 536332"/>
                  <a:gd name="connsiteY6" fmla="*/ 148596 h 149185"/>
                  <a:gd name="connsiteX7" fmla="*/ 536332 w 536332"/>
                  <a:gd name="connsiteY7" fmla="*/ 137044 h 149185"/>
                  <a:gd name="connsiteX8" fmla="*/ 535708 w 536332"/>
                  <a:gd name="connsiteY8" fmla="*/ 18270 h 149185"/>
                  <a:gd name="connsiteX9" fmla="*/ 525053 w 536332"/>
                  <a:gd name="connsiteY9" fmla="*/ 6719 h 149185"/>
                  <a:gd name="connsiteX10" fmla="*/ 524157 w 536332"/>
                  <a:gd name="connsiteY10" fmla="*/ 6719 h 149185"/>
                  <a:gd name="connsiteX11" fmla="*/ 512605 w 536332"/>
                  <a:gd name="connsiteY11" fmla="*/ 18270 h 149185"/>
                  <a:gd name="connsiteX12" fmla="*/ 512605 w 536332"/>
                  <a:gd name="connsiteY12" fmla="*/ 18328 h 149185"/>
                  <a:gd name="connsiteX13" fmla="*/ 513044 w 536332"/>
                  <a:gd name="connsiteY13" fmla="*/ 106248 h 149185"/>
                  <a:gd name="connsiteX14" fmla="*/ 512848 w 536332"/>
                  <a:gd name="connsiteY14" fmla="*/ 106329 h 149185"/>
                  <a:gd name="connsiteX15" fmla="*/ 100187 w 536332"/>
                  <a:gd name="connsiteY15" fmla="*/ 44539 h 149185"/>
                  <a:gd name="connsiteX16" fmla="*/ 2368 w 536332"/>
                  <a:gd name="connsiteY16" fmla="*/ 130021 h 149185"/>
                  <a:gd name="connsiteX17" fmla="*/ 4546 w 536332"/>
                  <a:gd name="connsiteY17" fmla="*/ 146212 h 149185"/>
                  <a:gd name="connsiteX18" fmla="*/ 20666 w 536332"/>
                  <a:gd name="connsiteY18" fmla="*/ 144126 h 149185"/>
                  <a:gd name="connsiteX19" fmla="*/ 111739 w 536332"/>
                  <a:gd name="connsiteY19" fmla="*/ 64581 h 149185"/>
                  <a:gd name="connsiteX20" fmla="*/ 498708 w 536332"/>
                  <a:gd name="connsiteY20" fmla="*/ 125423 h 14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6332" h="149185">
                    <a:moveTo>
                      <a:pt x="498708" y="125423"/>
                    </a:moveTo>
                    <a:cubicBezTo>
                      <a:pt x="498812" y="125527"/>
                      <a:pt x="498778" y="125620"/>
                      <a:pt x="498627" y="125620"/>
                    </a:cubicBezTo>
                    <a:lnTo>
                      <a:pt x="405740" y="126082"/>
                    </a:lnTo>
                    <a:cubicBezTo>
                      <a:pt x="399361" y="126098"/>
                      <a:pt x="394202" y="131282"/>
                      <a:pt x="394218" y="137662"/>
                    </a:cubicBezTo>
                    <a:cubicBezTo>
                      <a:pt x="394234" y="144042"/>
                      <a:pt x="399418" y="149201"/>
                      <a:pt x="405798" y="149185"/>
                    </a:cubicBezTo>
                    <a:lnTo>
                      <a:pt x="405798" y="149185"/>
                    </a:lnTo>
                    <a:lnTo>
                      <a:pt x="524780" y="148596"/>
                    </a:lnTo>
                    <a:cubicBezTo>
                      <a:pt x="531160" y="148596"/>
                      <a:pt x="536332" y="143424"/>
                      <a:pt x="536332" y="137044"/>
                    </a:cubicBezTo>
                    <a:lnTo>
                      <a:pt x="535708" y="18270"/>
                    </a:lnTo>
                    <a:cubicBezTo>
                      <a:pt x="535956" y="12138"/>
                      <a:pt x="531185" y="6966"/>
                      <a:pt x="525053" y="6719"/>
                    </a:cubicBezTo>
                    <a:cubicBezTo>
                      <a:pt x="524754" y="6707"/>
                      <a:pt x="524455" y="6707"/>
                      <a:pt x="524157" y="6719"/>
                    </a:cubicBezTo>
                    <a:cubicBezTo>
                      <a:pt x="517777" y="6719"/>
                      <a:pt x="512605" y="11890"/>
                      <a:pt x="512605" y="18270"/>
                    </a:cubicBezTo>
                    <a:cubicBezTo>
                      <a:pt x="512605" y="18290"/>
                      <a:pt x="512605" y="18308"/>
                      <a:pt x="512605" y="18328"/>
                    </a:cubicBezTo>
                    <a:lnTo>
                      <a:pt x="513044" y="106248"/>
                    </a:lnTo>
                    <a:cubicBezTo>
                      <a:pt x="513044" y="106409"/>
                      <a:pt x="512963" y="106444"/>
                      <a:pt x="512848" y="106329"/>
                    </a:cubicBezTo>
                    <a:cubicBezTo>
                      <a:pt x="406229" y="-7399"/>
                      <a:pt x="235441" y="-32972"/>
                      <a:pt x="100187" y="44539"/>
                    </a:cubicBezTo>
                    <a:cubicBezTo>
                      <a:pt x="62285" y="66334"/>
                      <a:pt x="29046" y="95381"/>
                      <a:pt x="2368" y="130021"/>
                    </a:cubicBezTo>
                    <a:cubicBezTo>
                      <a:pt x="-1502" y="135093"/>
                      <a:pt x="-526" y="142342"/>
                      <a:pt x="4546" y="146212"/>
                    </a:cubicBezTo>
                    <a:cubicBezTo>
                      <a:pt x="9583" y="150053"/>
                      <a:pt x="16773" y="149123"/>
                      <a:pt x="20666" y="144126"/>
                    </a:cubicBezTo>
                    <a:cubicBezTo>
                      <a:pt x="45505" y="111887"/>
                      <a:pt x="76452" y="84858"/>
                      <a:pt x="111739" y="64581"/>
                    </a:cubicBezTo>
                    <a:cubicBezTo>
                      <a:pt x="239044" y="-8353"/>
                      <a:pt x="399927" y="16943"/>
                      <a:pt x="498708" y="125423"/>
                    </a:cubicBezTo>
                    <a:close/>
                  </a:path>
                </a:pathLst>
              </a:custGeom>
              <a:solidFill>
                <a:schemeClr val="bg1"/>
              </a:solidFill>
              <a:ln w="11509" cap="flat">
                <a:noFill/>
                <a:prstDash val="solid"/>
                <a:miter/>
              </a:ln>
            </p:spPr>
            <p:txBody>
              <a:bodyPr rtlCol="0" anchor="ctr"/>
              <a:lstStyle/>
              <a:p>
                <a:endParaRPr lang="de-DE"/>
              </a:p>
            </p:txBody>
          </p:sp>
        </p:grpSp>
        <p:grpSp>
          <p:nvGrpSpPr>
            <p:cNvPr id="75" name="Grafik 50" descr="Fliegendes Geld Silhouette">
              <a:extLst>
                <a:ext uri="{FF2B5EF4-FFF2-40B4-BE49-F238E27FC236}">
                  <a16:creationId xmlns:a16="http://schemas.microsoft.com/office/drawing/2014/main" id="{4B20B402-8994-DC89-7FE2-81F4928D4CAC}"/>
                </a:ext>
              </a:extLst>
            </p:cNvPr>
            <p:cNvGrpSpPr/>
            <p:nvPr/>
          </p:nvGrpSpPr>
          <p:grpSpPr>
            <a:xfrm>
              <a:off x="4490913" y="5639992"/>
              <a:ext cx="257652" cy="239985"/>
              <a:chOff x="4325813" y="6020992"/>
              <a:chExt cx="257652" cy="239985"/>
            </a:xfrm>
            <a:solidFill>
              <a:schemeClr val="bg1"/>
            </a:solidFill>
          </p:grpSpPr>
          <p:sp>
            <p:nvSpPr>
              <p:cNvPr id="76" name="Freihandform: Form 75">
                <a:extLst>
                  <a:ext uri="{FF2B5EF4-FFF2-40B4-BE49-F238E27FC236}">
                    <a16:creationId xmlns:a16="http://schemas.microsoft.com/office/drawing/2014/main" id="{83514C01-A75C-E7A1-6A11-D91BA88B2EB8}"/>
                  </a:ext>
                </a:extLst>
              </p:cNvPr>
              <p:cNvSpPr/>
              <p:nvPr/>
            </p:nvSpPr>
            <p:spPr>
              <a:xfrm>
                <a:off x="4414903" y="6112582"/>
                <a:ext cx="43622" cy="42515"/>
              </a:xfrm>
              <a:custGeom>
                <a:avLst/>
                <a:gdLst>
                  <a:gd name="connsiteX0" fmla="*/ 34193 w 43622"/>
                  <a:gd name="connsiteY0" fmla="*/ 6872 h 42515"/>
                  <a:gd name="connsiteX1" fmla="*/ 16982 w 43622"/>
                  <a:gd name="connsiteY1" fmla="*/ 8 h 42515"/>
                  <a:gd name="connsiteX2" fmla="*/ 3862 w 43622"/>
                  <a:gd name="connsiteY2" fmla="*/ 5609 h 42515"/>
                  <a:gd name="connsiteX3" fmla="*/ 9421 w 43622"/>
                  <a:gd name="connsiteY3" fmla="*/ 35635 h 42515"/>
                  <a:gd name="connsiteX4" fmla="*/ 26632 w 43622"/>
                  <a:gd name="connsiteY4" fmla="*/ 42507 h 42515"/>
                  <a:gd name="connsiteX5" fmla="*/ 39752 w 43622"/>
                  <a:gd name="connsiteY5" fmla="*/ 36906 h 42515"/>
                  <a:gd name="connsiteX6" fmla="*/ 34193 w 43622"/>
                  <a:gd name="connsiteY6" fmla="*/ 6872 h 42515"/>
                  <a:gd name="connsiteX7" fmla="*/ 35510 w 43622"/>
                  <a:gd name="connsiteY7" fmla="*/ 33241 h 42515"/>
                  <a:gd name="connsiteX8" fmla="*/ 26632 w 43622"/>
                  <a:gd name="connsiteY8" fmla="*/ 36906 h 42515"/>
                  <a:gd name="connsiteX9" fmla="*/ 13101 w 43622"/>
                  <a:gd name="connsiteY9" fmla="*/ 31420 h 42515"/>
                  <a:gd name="connsiteX10" fmla="*/ 8105 w 43622"/>
                  <a:gd name="connsiteY10" fmla="*/ 9275 h 42515"/>
                  <a:gd name="connsiteX11" fmla="*/ 16982 w 43622"/>
                  <a:gd name="connsiteY11" fmla="*/ 5609 h 42515"/>
                  <a:gd name="connsiteX12" fmla="*/ 30514 w 43622"/>
                  <a:gd name="connsiteY12" fmla="*/ 11092 h 42515"/>
                  <a:gd name="connsiteX13" fmla="*/ 35521 w 43622"/>
                  <a:gd name="connsiteY13" fmla="*/ 33241 h 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2" h="42515">
                    <a:moveTo>
                      <a:pt x="34193" y="6872"/>
                    </a:moveTo>
                    <a:cubicBezTo>
                      <a:pt x="29462" y="2600"/>
                      <a:pt x="23355" y="165"/>
                      <a:pt x="16982" y="8"/>
                    </a:cubicBezTo>
                    <a:cubicBezTo>
                      <a:pt x="11997" y="-148"/>
                      <a:pt x="7197" y="1901"/>
                      <a:pt x="3862" y="5609"/>
                    </a:cubicBezTo>
                    <a:cubicBezTo>
                      <a:pt x="-2976" y="13548"/>
                      <a:pt x="-495" y="26993"/>
                      <a:pt x="9421" y="35635"/>
                    </a:cubicBezTo>
                    <a:cubicBezTo>
                      <a:pt x="14151" y="39910"/>
                      <a:pt x="20258" y="42349"/>
                      <a:pt x="26632" y="42507"/>
                    </a:cubicBezTo>
                    <a:cubicBezTo>
                      <a:pt x="31617" y="42663"/>
                      <a:pt x="36417" y="40614"/>
                      <a:pt x="39752" y="36906"/>
                    </a:cubicBezTo>
                    <a:cubicBezTo>
                      <a:pt x="46602" y="28959"/>
                      <a:pt x="44121" y="15514"/>
                      <a:pt x="34193" y="6872"/>
                    </a:cubicBezTo>
                    <a:close/>
                    <a:moveTo>
                      <a:pt x="35510" y="33241"/>
                    </a:moveTo>
                    <a:cubicBezTo>
                      <a:pt x="33233" y="35707"/>
                      <a:pt x="29986" y="37048"/>
                      <a:pt x="26632" y="36906"/>
                    </a:cubicBezTo>
                    <a:cubicBezTo>
                      <a:pt x="21614" y="36739"/>
                      <a:pt x="16819" y="34795"/>
                      <a:pt x="13101" y="31420"/>
                    </a:cubicBezTo>
                    <a:cubicBezTo>
                      <a:pt x="5646" y="24926"/>
                      <a:pt x="3358" y="14783"/>
                      <a:pt x="8105" y="9275"/>
                    </a:cubicBezTo>
                    <a:cubicBezTo>
                      <a:pt x="10382" y="6808"/>
                      <a:pt x="13628" y="5468"/>
                      <a:pt x="16982" y="5609"/>
                    </a:cubicBezTo>
                    <a:cubicBezTo>
                      <a:pt x="22000" y="5777"/>
                      <a:pt x="26795" y="7720"/>
                      <a:pt x="30514" y="11092"/>
                    </a:cubicBezTo>
                    <a:cubicBezTo>
                      <a:pt x="37980" y="17589"/>
                      <a:pt x="40267" y="27732"/>
                      <a:pt x="35521" y="33241"/>
                    </a:cubicBezTo>
                    <a:close/>
                  </a:path>
                </a:pathLst>
              </a:custGeom>
              <a:solidFill>
                <a:schemeClr val="bg1"/>
              </a:solidFill>
              <a:ln w="2778"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6A5B7DAD-7BA4-F3AF-6E04-02093D640A0C}"/>
                  </a:ext>
                </a:extLst>
              </p:cNvPr>
              <p:cNvSpPr/>
              <p:nvPr/>
            </p:nvSpPr>
            <p:spPr>
              <a:xfrm>
                <a:off x="4455866" y="6075804"/>
                <a:ext cx="19220" cy="18644"/>
              </a:xfrm>
              <a:custGeom>
                <a:avLst/>
                <a:gdLst>
                  <a:gd name="connsiteX0" fmla="*/ 14706 w 19220"/>
                  <a:gd name="connsiteY0" fmla="*/ 2080 h 18644"/>
                  <a:gd name="connsiteX1" fmla="*/ 8413 w 19220"/>
                  <a:gd name="connsiteY1" fmla="*/ 3 h 18644"/>
                  <a:gd name="connsiteX2" fmla="*/ 1373 w 19220"/>
                  <a:gd name="connsiteY2" fmla="*/ 3453 h 18644"/>
                  <a:gd name="connsiteX3" fmla="*/ 4510 w 19220"/>
                  <a:gd name="connsiteY3" fmla="*/ 16567 h 18644"/>
                  <a:gd name="connsiteX4" fmla="*/ 10802 w 19220"/>
                  <a:gd name="connsiteY4" fmla="*/ 18642 h 18644"/>
                  <a:gd name="connsiteX5" fmla="*/ 17842 w 19220"/>
                  <a:gd name="connsiteY5" fmla="*/ 15192 h 18644"/>
                  <a:gd name="connsiteX6" fmla="*/ 14706 w 19220"/>
                  <a:gd name="connsiteY6" fmla="*/ 2080 h 18644"/>
                  <a:gd name="connsiteX7" fmla="*/ 13278 w 19220"/>
                  <a:gd name="connsiteY7" fmla="*/ 11946 h 18644"/>
                  <a:gd name="connsiteX8" fmla="*/ 10802 w 19220"/>
                  <a:gd name="connsiteY8" fmla="*/ 13041 h 18644"/>
                  <a:gd name="connsiteX9" fmla="*/ 7772 w 19220"/>
                  <a:gd name="connsiteY9" fmla="*/ 12013 h 18644"/>
                  <a:gd name="connsiteX10" fmla="*/ 5935 w 19220"/>
                  <a:gd name="connsiteY10" fmla="*/ 6693 h 18644"/>
                  <a:gd name="connsiteX11" fmla="*/ 8413 w 19220"/>
                  <a:gd name="connsiteY11" fmla="*/ 5598 h 18644"/>
                  <a:gd name="connsiteX12" fmla="*/ 11444 w 19220"/>
                  <a:gd name="connsiteY12" fmla="*/ 6628 h 18644"/>
                  <a:gd name="connsiteX13" fmla="*/ 13278 w 19220"/>
                  <a:gd name="connsiteY13" fmla="*/ 11932 h 1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20" h="18644">
                    <a:moveTo>
                      <a:pt x="14706" y="2080"/>
                    </a:moveTo>
                    <a:cubicBezTo>
                      <a:pt x="12876" y="748"/>
                      <a:pt x="10676" y="22"/>
                      <a:pt x="8413" y="3"/>
                    </a:cubicBezTo>
                    <a:cubicBezTo>
                      <a:pt x="5644" y="-65"/>
                      <a:pt x="3016" y="1222"/>
                      <a:pt x="1373" y="3453"/>
                    </a:cubicBezTo>
                    <a:cubicBezTo>
                      <a:pt x="-1323" y="7949"/>
                      <a:pt x="71" y="13777"/>
                      <a:pt x="4510" y="16567"/>
                    </a:cubicBezTo>
                    <a:cubicBezTo>
                      <a:pt x="6340" y="17897"/>
                      <a:pt x="8540" y="18622"/>
                      <a:pt x="10802" y="18642"/>
                    </a:cubicBezTo>
                    <a:cubicBezTo>
                      <a:pt x="13572" y="18711"/>
                      <a:pt x="16200" y="17422"/>
                      <a:pt x="17842" y="15192"/>
                    </a:cubicBezTo>
                    <a:cubicBezTo>
                      <a:pt x="20547" y="10697"/>
                      <a:pt x="19151" y="4865"/>
                      <a:pt x="14706" y="2080"/>
                    </a:cubicBezTo>
                    <a:close/>
                    <a:moveTo>
                      <a:pt x="13278" y="11946"/>
                    </a:moveTo>
                    <a:cubicBezTo>
                      <a:pt x="12669" y="12678"/>
                      <a:pt x="11753" y="13083"/>
                      <a:pt x="10802" y="13041"/>
                    </a:cubicBezTo>
                    <a:cubicBezTo>
                      <a:pt x="9710" y="13020"/>
                      <a:pt x="8652" y="12661"/>
                      <a:pt x="7772" y="12013"/>
                    </a:cubicBezTo>
                    <a:cubicBezTo>
                      <a:pt x="5886" y="10973"/>
                      <a:pt x="5093" y="8675"/>
                      <a:pt x="5935" y="6693"/>
                    </a:cubicBezTo>
                    <a:cubicBezTo>
                      <a:pt x="6545" y="5961"/>
                      <a:pt x="7462" y="5555"/>
                      <a:pt x="8413" y="5598"/>
                    </a:cubicBezTo>
                    <a:cubicBezTo>
                      <a:pt x="9506" y="5620"/>
                      <a:pt x="10564" y="5980"/>
                      <a:pt x="11444" y="6628"/>
                    </a:cubicBezTo>
                    <a:cubicBezTo>
                      <a:pt x="13426" y="8037"/>
                      <a:pt x="14283" y="10521"/>
                      <a:pt x="13278" y="11932"/>
                    </a:cubicBezTo>
                    <a:close/>
                  </a:path>
                </a:pathLst>
              </a:custGeom>
              <a:solidFill>
                <a:schemeClr val="bg1"/>
              </a:solidFill>
              <a:ln w="2778"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9C116AB-C663-5B79-E774-C73A427A5974}"/>
                  </a:ext>
                </a:extLst>
              </p:cNvPr>
              <p:cNvSpPr/>
              <p:nvPr/>
            </p:nvSpPr>
            <p:spPr>
              <a:xfrm>
                <a:off x="4410312" y="6178008"/>
                <a:ext cx="19116" cy="18780"/>
              </a:xfrm>
              <a:custGeom>
                <a:avLst/>
                <a:gdLst>
                  <a:gd name="connsiteX0" fmla="*/ 15079 w 19116"/>
                  <a:gd name="connsiteY0" fmla="*/ 2469 h 18780"/>
                  <a:gd name="connsiteX1" fmla="*/ 8319 w 19116"/>
                  <a:gd name="connsiteY1" fmla="*/ 2 h 18780"/>
                  <a:gd name="connsiteX2" fmla="*/ 1687 w 19116"/>
                  <a:gd name="connsiteY2" fmla="*/ 3057 h 18780"/>
                  <a:gd name="connsiteX3" fmla="*/ 4042 w 19116"/>
                  <a:gd name="connsiteY3" fmla="*/ 16311 h 18780"/>
                  <a:gd name="connsiteX4" fmla="*/ 10802 w 19116"/>
                  <a:gd name="connsiteY4" fmla="*/ 18779 h 18780"/>
                  <a:gd name="connsiteX5" fmla="*/ 17431 w 19116"/>
                  <a:gd name="connsiteY5" fmla="*/ 15723 h 18780"/>
                  <a:gd name="connsiteX6" fmla="*/ 15079 w 19116"/>
                  <a:gd name="connsiteY6" fmla="*/ 2469 h 18780"/>
                  <a:gd name="connsiteX7" fmla="*/ 13048 w 19116"/>
                  <a:gd name="connsiteY7" fmla="*/ 12237 h 18780"/>
                  <a:gd name="connsiteX8" fmla="*/ 10808 w 19116"/>
                  <a:gd name="connsiteY8" fmla="*/ 13178 h 18780"/>
                  <a:gd name="connsiteX9" fmla="*/ 7565 w 19116"/>
                  <a:gd name="connsiteY9" fmla="*/ 11951 h 18780"/>
                  <a:gd name="connsiteX10" fmla="*/ 6078 w 19116"/>
                  <a:gd name="connsiteY10" fmla="*/ 6544 h 18780"/>
                  <a:gd name="connsiteX11" fmla="*/ 8319 w 19116"/>
                  <a:gd name="connsiteY11" fmla="*/ 5603 h 18780"/>
                  <a:gd name="connsiteX12" fmla="*/ 11545 w 19116"/>
                  <a:gd name="connsiteY12" fmla="*/ 6815 h 18780"/>
                  <a:gd name="connsiteX13" fmla="*/ 13048 w 19116"/>
                  <a:gd name="connsiteY13" fmla="*/ 12237 h 1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16" h="18780">
                    <a:moveTo>
                      <a:pt x="15079" y="2469"/>
                    </a:moveTo>
                    <a:cubicBezTo>
                      <a:pt x="13172" y="900"/>
                      <a:pt x="10787" y="30"/>
                      <a:pt x="8319" y="2"/>
                    </a:cubicBezTo>
                    <a:cubicBezTo>
                      <a:pt x="5756" y="-53"/>
                      <a:pt x="3310" y="1073"/>
                      <a:pt x="1687" y="3057"/>
                    </a:cubicBezTo>
                    <a:cubicBezTo>
                      <a:pt x="-1281" y="7377"/>
                      <a:pt x="-232" y="13279"/>
                      <a:pt x="4042" y="16311"/>
                    </a:cubicBezTo>
                    <a:cubicBezTo>
                      <a:pt x="5949" y="17879"/>
                      <a:pt x="8334" y="18749"/>
                      <a:pt x="10802" y="18779"/>
                    </a:cubicBezTo>
                    <a:cubicBezTo>
                      <a:pt x="13364" y="18834"/>
                      <a:pt x="15809" y="17707"/>
                      <a:pt x="17431" y="15723"/>
                    </a:cubicBezTo>
                    <a:cubicBezTo>
                      <a:pt x="20396" y="11404"/>
                      <a:pt x="19349" y="5504"/>
                      <a:pt x="15079" y="2469"/>
                    </a:cubicBezTo>
                    <a:close/>
                    <a:moveTo>
                      <a:pt x="13048" y="12237"/>
                    </a:moveTo>
                    <a:cubicBezTo>
                      <a:pt x="12479" y="12869"/>
                      <a:pt x="11658" y="13214"/>
                      <a:pt x="10808" y="13178"/>
                    </a:cubicBezTo>
                    <a:cubicBezTo>
                      <a:pt x="9619" y="13149"/>
                      <a:pt x="8476" y="12716"/>
                      <a:pt x="7565" y="11951"/>
                    </a:cubicBezTo>
                    <a:cubicBezTo>
                      <a:pt x="5763" y="10792"/>
                      <a:pt x="5122" y="8462"/>
                      <a:pt x="6078" y="6544"/>
                    </a:cubicBezTo>
                    <a:cubicBezTo>
                      <a:pt x="6647" y="5911"/>
                      <a:pt x="7469" y="5566"/>
                      <a:pt x="8319" y="5603"/>
                    </a:cubicBezTo>
                    <a:cubicBezTo>
                      <a:pt x="9500" y="5629"/>
                      <a:pt x="10638" y="6057"/>
                      <a:pt x="11545" y="6815"/>
                    </a:cubicBezTo>
                    <a:cubicBezTo>
                      <a:pt x="13374" y="7960"/>
                      <a:pt x="14027" y="10313"/>
                      <a:pt x="13048" y="12237"/>
                    </a:cubicBezTo>
                    <a:close/>
                  </a:path>
                </a:pathLst>
              </a:custGeom>
              <a:solidFill>
                <a:schemeClr val="bg1"/>
              </a:solidFill>
              <a:ln w="2778"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4298C3FF-C935-118D-08BA-A4B14A3A3162}"/>
                  </a:ext>
                </a:extLst>
              </p:cNvPr>
              <p:cNvSpPr/>
              <p:nvPr/>
            </p:nvSpPr>
            <p:spPr>
              <a:xfrm>
                <a:off x="4379316" y="6045781"/>
                <a:ext cx="128197" cy="190684"/>
              </a:xfrm>
              <a:custGeom>
                <a:avLst/>
                <a:gdLst>
                  <a:gd name="connsiteX0" fmla="*/ 127298 w 128197"/>
                  <a:gd name="connsiteY0" fmla="*/ 53180 h 190684"/>
                  <a:gd name="connsiteX1" fmla="*/ 128197 w 128197"/>
                  <a:gd name="connsiteY1" fmla="*/ 52278 h 190684"/>
                  <a:gd name="connsiteX2" fmla="*/ 126629 w 128197"/>
                  <a:gd name="connsiteY2" fmla="*/ 29023 h 190684"/>
                  <a:gd name="connsiteX3" fmla="*/ 86687 w 128197"/>
                  <a:gd name="connsiteY3" fmla="*/ 0 h 190684"/>
                  <a:gd name="connsiteX4" fmla="*/ 62099 w 128197"/>
                  <a:gd name="connsiteY4" fmla="*/ 4660 h 190684"/>
                  <a:gd name="connsiteX5" fmla="*/ 61486 w 128197"/>
                  <a:gd name="connsiteY5" fmla="*/ 5273 h 190684"/>
                  <a:gd name="connsiteX6" fmla="*/ 29539 w 128197"/>
                  <a:gd name="connsiteY6" fmla="*/ 52827 h 190684"/>
                  <a:gd name="connsiteX7" fmla="*/ 18208 w 128197"/>
                  <a:gd name="connsiteY7" fmla="*/ 87330 h 190684"/>
                  <a:gd name="connsiteX8" fmla="*/ 462 w 128197"/>
                  <a:gd name="connsiteY8" fmla="*/ 130930 h 190684"/>
                  <a:gd name="connsiteX9" fmla="*/ 0 w 128197"/>
                  <a:gd name="connsiteY9" fmla="*/ 131719 h 190684"/>
                  <a:gd name="connsiteX10" fmla="*/ 2240 w 128197"/>
                  <a:gd name="connsiteY10" fmla="*/ 153462 h 190684"/>
                  <a:gd name="connsiteX11" fmla="*/ 43922 w 128197"/>
                  <a:gd name="connsiteY11" fmla="*/ 190685 h 190684"/>
                  <a:gd name="connsiteX12" fmla="*/ 63508 w 128197"/>
                  <a:gd name="connsiteY12" fmla="*/ 186098 h 190684"/>
                  <a:gd name="connsiteX13" fmla="*/ 64121 w 128197"/>
                  <a:gd name="connsiteY13" fmla="*/ 185207 h 190684"/>
                  <a:gd name="connsiteX14" fmla="*/ 73082 w 128197"/>
                  <a:gd name="connsiteY14" fmla="*/ 167259 h 190684"/>
                  <a:gd name="connsiteX15" fmla="*/ 82576 w 128197"/>
                  <a:gd name="connsiteY15" fmla="*/ 134055 h 190684"/>
                  <a:gd name="connsiteX16" fmla="*/ 101565 w 128197"/>
                  <a:gd name="connsiteY16" fmla="*/ 84603 h 190684"/>
                  <a:gd name="connsiteX17" fmla="*/ 127298 w 128197"/>
                  <a:gd name="connsiteY17" fmla="*/ 53180 h 190684"/>
                  <a:gd name="connsiteX18" fmla="*/ 77134 w 128197"/>
                  <a:gd name="connsiteY18" fmla="*/ 132747 h 190684"/>
                  <a:gd name="connsiteX19" fmla="*/ 67803 w 128197"/>
                  <a:gd name="connsiteY19" fmla="*/ 165403 h 190684"/>
                  <a:gd name="connsiteX20" fmla="*/ 67803 w 128197"/>
                  <a:gd name="connsiteY20" fmla="*/ 165403 h 190684"/>
                  <a:gd name="connsiteX21" fmla="*/ 60114 w 128197"/>
                  <a:gd name="connsiteY21" fmla="*/ 181138 h 190684"/>
                  <a:gd name="connsiteX22" fmla="*/ 45484 w 128197"/>
                  <a:gd name="connsiteY22" fmla="*/ 184563 h 190684"/>
                  <a:gd name="connsiteX23" fmla="*/ 7612 w 128197"/>
                  <a:gd name="connsiteY23" fmla="*/ 150729 h 190684"/>
                  <a:gd name="connsiteX24" fmla="*/ 5772 w 128197"/>
                  <a:gd name="connsiteY24" fmla="*/ 132963 h 190684"/>
                  <a:gd name="connsiteX25" fmla="*/ 23644 w 128197"/>
                  <a:gd name="connsiteY25" fmla="*/ 88717 h 190684"/>
                  <a:gd name="connsiteX26" fmla="*/ 34722 w 128197"/>
                  <a:gd name="connsiteY26" fmla="*/ 54972 h 190684"/>
                  <a:gd name="connsiteX27" fmla="*/ 64846 w 128197"/>
                  <a:gd name="connsiteY27" fmla="*/ 9827 h 190684"/>
                  <a:gd name="connsiteX28" fmla="*/ 85348 w 128197"/>
                  <a:gd name="connsiteY28" fmla="*/ 5954 h 190684"/>
                  <a:gd name="connsiteX29" fmla="*/ 121213 w 128197"/>
                  <a:gd name="connsiteY29" fmla="*/ 32017 h 190684"/>
                  <a:gd name="connsiteX30" fmla="*/ 122439 w 128197"/>
                  <a:gd name="connsiteY30" fmla="*/ 50121 h 190684"/>
                  <a:gd name="connsiteX31" fmla="*/ 96796 w 128197"/>
                  <a:gd name="connsiteY31" fmla="*/ 81671 h 190684"/>
                  <a:gd name="connsiteX32" fmla="*/ 77134 w 128197"/>
                  <a:gd name="connsiteY32" fmla="*/ 132747 h 19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197" h="190684">
                    <a:moveTo>
                      <a:pt x="127298" y="53180"/>
                    </a:moveTo>
                    <a:lnTo>
                      <a:pt x="128197" y="52278"/>
                    </a:lnTo>
                    <a:lnTo>
                      <a:pt x="126629" y="29023"/>
                    </a:lnTo>
                    <a:lnTo>
                      <a:pt x="86687" y="0"/>
                    </a:lnTo>
                    <a:lnTo>
                      <a:pt x="62099" y="4660"/>
                    </a:lnTo>
                    <a:lnTo>
                      <a:pt x="61486" y="5273"/>
                    </a:lnTo>
                    <a:cubicBezTo>
                      <a:pt x="47823" y="18877"/>
                      <a:pt x="36968" y="35035"/>
                      <a:pt x="29539" y="52827"/>
                    </a:cubicBezTo>
                    <a:cubicBezTo>
                      <a:pt x="24829" y="64000"/>
                      <a:pt x="21039" y="75540"/>
                      <a:pt x="18208" y="87330"/>
                    </a:cubicBezTo>
                    <a:cubicBezTo>
                      <a:pt x="14746" y="102745"/>
                      <a:pt x="8749" y="117478"/>
                      <a:pt x="462" y="130930"/>
                    </a:cubicBezTo>
                    <a:lnTo>
                      <a:pt x="0" y="131719"/>
                    </a:lnTo>
                    <a:lnTo>
                      <a:pt x="2240" y="153462"/>
                    </a:lnTo>
                    <a:lnTo>
                      <a:pt x="43922" y="190685"/>
                    </a:lnTo>
                    <a:lnTo>
                      <a:pt x="63508" y="186098"/>
                    </a:lnTo>
                    <a:lnTo>
                      <a:pt x="64121" y="185207"/>
                    </a:lnTo>
                    <a:cubicBezTo>
                      <a:pt x="67891" y="179648"/>
                      <a:pt x="70905" y="173613"/>
                      <a:pt x="73082" y="167259"/>
                    </a:cubicBezTo>
                    <a:cubicBezTo>
                      <a:pt x="76852" y="156373"/>
                      <a:pt x="80021" y="145288"/>
                      <a:pt x="82576" y="134055"/>
                    </a:cubicBezTo>
                    <a:cubicBezTo>
                      <a:pt x="86636" y="117533"/>
                      <a:pt x="90137" y="103251"/>
                      <a:pt x="101565" y="84603"/>
                    </a:cubicBezTo>
                    <a:cubicBezTo>
                      <a:pt x="108899" y="73169"/>
                      <a:pt x="117535" y="62624"/>
                      <a:pt x="127298" y="53180"/>
                    </a:cubicBezTo>
                    <a:close/>
                    <a:moveTo>
                      <a:pt x="77134" y="132747"/>
                    </a:moveTo>
                    <a:cubicBezTo>
                      <a:pt x="74622" y="143794"/>
                      <a:pt x="71508" y="154696"/>
                      <a:pt x="67803" y="165403"/>
                    </a:cubicBezTo>
                    <a:lnTo>
                      <a:pt x="67803" y="165403"/>
                    </a:lnTo>
                    <a:cubicBezTo>
                      <a:pt x="65901" y="170946"/>
                      <a:pt x="63318" y="176231"/>
                      <a:pt x="60114" y="181138"/>
                    </a:cubicBezTo>
                    <a:lnTo>
                      <a:pt x="45484" y="184563"/>
                    </a:lnTo>
                    <a:lnTo>
                      <a:pt x="7612" y="150729"/>
                    </a:lnTo>
                    <a:lnTo>
                      <a:pt x="5772" y="132963"/>
                    </a:lnTo>
                    <a:cubicBezTo>
                      <a:pt x="14102" y="119287"/>
                      <a:pt x="20139" y="104341"/>
                      <a:pt x="23644" y="88717"/>
                    </a:cubicBezTo>
                    <a:cubicBezTo>
                      <a:pt x="26413" y="77186"/>
                      <a:pt x="30118" y="65900"/>
                      <a:pt x="34722" y="54972"/>
                    </a:cubicBezTo>
                    <a:cubicBezTo>
                      <a:pt x="41754" y="38119"/>
                      <a:pt x="51984" y="22789"/>
                      <a:pt x="64846" y="9827"/>
                    </a:cubicBezTo>
                    <a:lnTo>
                      <a:pt x="85348" y="5954"/>
                    </a:lnTo>
                    <a:lnTo>
                      <a:pt x="121213" y="32017"/>
                    </a:lnTo>
                    <a:lnTo>
                      <a:pt x="122439" y="50121"/>
                    </a:lnTo>
                    <a:cubicBezTo>
                      <a:pt x="112721" y="59630"/>
                      <a:pt x="104118" y="70214"/>
                      <a:pt x="96796" y="81671"/>
                    </a:cubicBezTo>
                    <a:cubicBezTo>
                      <a:pt x="84920" y="101066"/>
                      <a:pt x="81315" y="115735"/>
                      <a:pt x="77134" y="132747"/>
                    </a:cubicBezTo>
                    <a:close/>
                  </a:path>
                </a:pathLst>
              </a:custGeom>
              <a:solidFill>
                <a:schemeClr val="bg1"/>
              </a:solidFill>
              <a:ln w="2778"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0BC8C59A-8C1B-9BA3-E446-690A50D8AFB6}"/>
                  </a:ext>
                </a:extLst>
              </p:cNvPr>
              <p:cNvSpPr/>
              <p:nvPr/>
            </p:nvSpPr>
            <p:spPr>
              <a:xfrm>
                <a:off x="4325813" y="6020992"/>
                <a:ext cx="257652" cy="239985"/>
              </a:xfrm>
              <a:custGeom>
                <a:avLst/>
                <a:gdLst>
                  <a:gd name="connsiteX0" fmla="*/ 257422 w 257652"/>
                  <a:gd name="connsiteY0" fmla="*/ 165181 h 239985"/>
                  <a:gd name="connsiteX1" fmla="*/ 254678 w 257652"/>
                  <a:gd name="connsiteY1" fmla="*/ 163526 h 239985"/>
                  <a:gd name="connsiteX2" fmla="*/ 229664 w 257652"/>
                  <a:gd name="connsiteY2" fmla="*/ 150790 h 239985"/>
                  <a:gd name="connsiteX3" fmla="*/ 212602 w 257652"/>
                  <a:gd name="connsiteY3" fmla="*/ 132223 h 239985"/>
                  <a:gd name="connsiteX4" fmla="*/ 194293 w 257652"/>
                  <a:gd name="connsiteY4" fmla="*/ 117468 h 239985"/>
                  <a:gd name="connsiteX5" fmla="*/ 162967 w 257652"/>
                  <a:gd name="connsiteY5" fmla="*/ 123909 h 239985"/>
                  <a:gd name="connsiteX6" fmla="*/ 167059 w 257652"/>
                  <a:gd name="connsiteY6" fmla="*/ 116726 h 239985"/>
                  <a:gd name="connsiteX7" fmla="*/ 218009 w 257652"/>
                  <a:gd name="connsiteY7" fmla="*/ 63992 h 239985"/>
                  <a:gd name="connsiteX8" fmla="*/ 129939 w 257652"/>
                  <a:gd name="connsiteY8" fmla="*/ 0 h 239985"/>
                  <a:gd name="connsiteX9" fmla="*/ 72702 w 257652"/>
                  <a:gd name="connsiteY9" fmla="*/ 66484 h 239985"/>
                  <a:gd name="connsiteX10" fmla="*/ 64861 w 257652"/>
                  <a:gd name="connsiteY10" fmla="*/ 52188 h 239985"/>
                  <a:gd name="connsiteX11" fmla="*/ 47240 w 257652"/>
                  <a:gd name="connsiteY11" fmla="*/ 45154 h 239985"/>
                  <a:gd name="connsiteX12" fmla="*/ 28114 w 257652"/>
                  <a:gd name="connsiteY12" fmla="*/ 40925 h 239985"/>
                  <a:gd name="connsiteX13" fmla="*/ 9718 w 257652"/>
                  <a:gd name="connsiteY13" fmla="*/ 27998 h 239985"/>
                  <a:gd name="connsiteX14" fmla="*/ 5990 w 257652"/>
                  <a:gd name="connsiteY14" fmla="*/ 26661 h 239985"/>
                  <a:gd name="connsiteX15" fmla="*/ 4733 w 257652"/>
                  <a:gd name="connsiteY15" fmla="*/ 27842 h 239985"/>
                  <a:gd name="connsiteX16" fmla="*/ 2924 w 257652"/>
                  <a:gd name="connsiteY16" fmla="*/ 58808 h 239985"/>
                  <a:gd name="connsiteX17" fmla="*/ 16436 w 257652"/>
                  <a:gd name="connsiteY17" fmla="*/ 68610 h 239985"/>
                  <a:gd name="connsiteX18" fmla="*/ 16440 w 257652"/>
                  <a:gd name="connsiteY18" fmla="*/ 68645 h 239985"/>
                  <a:gd name="connsiteX19" fmla="*/ 16436 w 257652"/>
                  <a:gd name="connsiteY19" fmla="*/ 68649 h 239985"/>
                  <a:gd name="connsiteX20" fmla="*/ 14358 w 257652"/>
                  <a:gd name="connsiteY20" fmla="*/ 80038 h 239985"/>
                  <a:gd name="connsiteX21" fmla="*/ 30525 w 257652"/>
                  <a:gd name="connsiteY21" fmla="*/ 91573 h 239985"/>
                  <a:gd name="connsiteX22" fmla="*/ 30549 w 257652"/>
                  <a:gd name="connsiteY22" fmla="*/ 91600 h 239985"/>
                  <a:gd name="connsiteX23" fmla="*/ 30544 w 257652"/>
                  <a:gd name="connsiteY23" fmla="*/ 91612 h 239985"/>
                  <a:gd name="connsiteX24" fmla="*/ 29567 w 257652"/>
                  <a:gd name="connsiteY24" fmla="*/ 95493 h 239985"/>
                  <a:gd name="connsiteX25" fmla="*/ 32477 w 257652"/>
                  <a:gd name="connsiteY25" fmla="*/ 101265 h 239985"/>
                  <a:gd name="connsiteX26" fmla="*/ 50559 w 257652"/>
                  <a:gd name="connsiteY26" fmla="*/ 104248 h 239985"/>
                  <a:gd name="connsiteX27" fmla="*/ 56770 w 257652"/>
                  <a:gd name="connsiteY27" fmla="*/ 111013 h 239985"/>
                  <a:gd name="connsiteX28" fmla="*/ 57423 w 257652"/>
                  <a:gd name="connsiteY28" fmla="*/ 111470 h 239985"/>
                  <a:gd name="connsiteX29" fmla="*/ 40620 w 257652"/>
                  <a:gd name="connsiteY29" fmla="*/ 150754 h 239985"/>
                  <a:gd name="connsiteX30" fmla="*/ 23647 w 257652"/>
                  <a:gd name="connsiteY30" fmla="*/ 168323 h 239985"/>
                  <a:gd name="connsiteX31" fmla="*/ 103946 w 257652"/>
                  <a:gd name="connsiteY31" fmla="*/ 239986 h 239985"/>
                  <a:gd name="connsiteX32" fmla="*/ 139827 w 257652"/>
                  <a:gd name="connsiteY32" fmla="*/ 196633 h 239985"/>
                  <a:gd name="connsiteX33" fmla="*/ 149385 w 257652"/>
                  <a:gd name="connsiteY33" fmla="*/ 163720 h 239985"/>
                  <a:gd name="connsiteX34" fmla="*/ 150841 w 257652"/>
                  <a:gd name="connsiteY34" fmla="*/ 163689 h 239985"/>
                  <a:gd name="connsiteX35" fmla="*/ 151595 w 257652"/>
                  <a:gd name="connsiteY35" fmla="*/ 163431 h 239985"/>
                  <a:gd name="connsiteX36" fmla="*/ 165569 w 257652"/>
                  <a:gd name="connsiteY36" fmla="*/ 180715 h 239985"/>
                  <a:gd name="connsiteX37" fmla="*/ 172928 w 257652"/>
                  <a:gd name="connsiteY37" fmla="*/ 180715 h 239985"/>
                  <a:gd name="connsiteX38" fmla="*/ 176490 w 257652"/>
                  <a:gd name="connsiteY38" fmla="*/ 176974 h 239985"/>
                  <a:gd name="connsiteX39" fmla="*/ 176519 w 257652"/>
                  <a:gd name="connsiteY39" fmla="*/ 176961 h 239985"/>
                  <a:gd name="connsiteX40" fmla="*/ 176532 w 257652"/>
                  <a:gd name="connsiteY40" fmla="*/ 176974 h 239985"/>
                  <a:gd name="connsiteX41" fmla="*/ 197320 w 257652"/>
                  <a:gd name="connsiteY41" fmla="*/ 190091 h 239985"/>
                  <a:gd name="connsiteX42" fmla="*/ 199252 w 257652"/>
                  <a:gd name="connsiteY42" fmla="*/ 189987 h 239985"/>
                  <a:gd name="connsiteX43" fmla="*/ 206656 w 257652"/>
                  <a:gd name="connsiteY43" fmla="*/ 186025 h 239985"/>
                  <a:gd name="connsiteX44" fmla="*/ 209616 w 257652"/>
                  <a:gd name="connsiteY44" fmla="*/ 178962 h 239985"/>
                  <a:gd name="connsiteX45" fmla="*/ 209656 w 257652"/>
                  <a:gd name="connsiteY45" fmla="*/ 178945 h 239985"/>
                  <a:gd name="connsiteX46" fmla="*/ 228163 w 257652"/>
                  <a:gd name="connsiteY46" fmla="*/ 187792 h 239985"/>
                  <a:gd name="connsiteX47" fmla="*/ 257260 w 257652"/>
                  <a:gd name="connsiteY47" fmla="*/ 167791 h 239985"/>
                  <a:gd name="connsiteX48" fmla="*/ 257422 w 257652"/>
                  <a:gd name="connsiteY48" fmla="*/ 165181 h 239985"/>
                  <a:gd name="connsiteX49" fmla="*/ 228410 w 257652"/>
                  <a:gd name="connsiteY49" fmla="*/ 182197 h 239985"/>
                  <a:gd name="connsiteX50" fmla="*/ 209112 w 257652"/>
                  <a:gd name="connsiteY50" fmla="*/ 170819 h 239985"/>
                  <a:gd name="connsiteX51" fmla="*/ 205154 w 257652"/>
                  <a:gd name="connsiteY51" fmla="*/ 170682 h 239985"/>
                  <a:gd name="connsiteX52" fmla="*/ 204282 w 257652"/>
                  <a:gd name="connsiteY52" fmla="*/ 173036 h 239985"/>
                  <a:gd name="connsiteX53" fmla="*/ 202277 w 257652"/>
                  <a:gd name="connsiteY53" fmla="*/ 182521 h 239985"/>
                  <a:gd name="connsiteX54" fmla="*/ 198636 w 257652"/>
                  <a:gd name="connsiteY54" fmla="*/ 184417 h 239985"/>
                  <a:gd name="connsiteX55" fmla="*/ 178061 w 257652"/>
                  <a:gd name="connsiteY55" fmla="*/ 168864 h 239985"/>
                  <a:gd name="connsiteX56" fmla="*/ 174254 w 257652"/>
                  <a:gd name="connsiteY56" fmla="*/ 167773 h 239985"/>
                  <a:gd name="connsiteX57" fmla="*/ 172833 w 257652"/>
                  <a:gd name="connsiteY57" fmla="*/ 169878 h 239985"/>
                  <a:gd name="connsiteX58" fmla="*/ 170217 w 257652"/>
                  <a:gd name="connsiteY58" fmla="*/ 175814 h 239985"/>
                  <a:gd name="connsiteX59" fmla="*/ 167944 w 257652"/>
                  <a:gd name="connsiteY59" fmla="*/ 175641 h 239985"/>
                  <a:gd name="connsiteX60" fmla="*/ 155426 w 257652"/>
                  <a:gd name="connsiteY60" fmla="*/ 158651 h 239985"/>
                  <a:gd name="connsiteX61" fmla="*/ 151710 w 257652"/>
                  <a:gd name="connsiteY61" fmla="*/ 157360 h 239985"/>
                  <a:gd name="connsiteX62" fmla="*/ 150869 w 257652"/>
                  <a:gd name="connsiteY62" fmla="*/ 157724 h 239985"/>
                  <a:gd name="connsiteX63" fmla="*/ 153516 w 257652"/>
                  <a:gd name="connsiteY63" fmla="*/ 147656 h 239985"/>
                  <a:gd name="connsiteX64" fmla="*/ 151084 w 257652"/>
                  <a:gd name="connsiteY64" fmla="*/ 143281 h 239985"/>
                  <a:gd name="connsiteX65" fmla="*/ 150094 w 257652"/>
                  <a:gd name="connsiteY65" fmla="*/ 143145 h 239985"/>
                  <a:gd name="connsiteX66" fmla="*/ 150094 w 257652"/>
                  <a:gd name="connsiteY66" fmla="*/ 143145 h 239985"/>
                  <a:gd name="connsiteX67" fmla="*/ 148414 w 257652"/>
                  <a:gd name="connsiteY67" fmla="*/ 144977 h 239985"/>
                  <a:gd name="connsiteX68" fmla="*/ 144751 w 257652"/>
                  <a:gd name="connsiteY68" fmla="*/ 159107 h 239985"/>
                  <a:gd name="connsiteX69" fmla="*/ 144162 w 257652"/>
                  <a:gd name="connsiteY69" fmla="*/ 161507 h 239985"/>
                  <a:gd name="connsiteX70" fmla="*/ 144006 w 257652"/>
                  <a:gd name="connsiteY70" fmla="*/ 162137 h 239985"/>
                  <a:gd name="connsiteX71" fmla="*/ 134543 w 257652"/>
                  <a:gd name="connsiteY71" fmla="*/ 194784 h 239985"/>
                  <a:gd name="connsiteX72" fmla="*/ 104915 w 257652"/>
                  <a:gd name="connsiteY72" fmla="*/ 233340 h 239985"/>
                  <a:gd name="connsiteX73" fmla="*/ 32505 w 257652"/>
                  <a:gd name="connsiteY73" fmla="*/ 168693 h 239985"/>
                  <a:gd name="connsiteX74" fmla="*/ 45445 w 257652"/>
                  <a:gd name="connsiteY74" fmla="*/ 153624 h 239985"/>
                  <a:gd name="connsiteX75" fmla="*/ 63253 w 257652"/>
                  <a:gd name="connsiteY75" fmla="*/ 111338 h 239985"/>
                  <a:gd name="connsiteX76" fmla="*/ 62335 w 257652"/>
                  <a:gd name="connsiteY76" fmla="*/ 108471 h 239985"/>
                  <a:gd name="connsiteX77" fmla="*/ 58941 w 257652"/>
                  <a:gd name="connsiteY77" fmla="*/ 105648 h 239985"/>
                  <a:gd name="connsiteX78" fmla="*/ 56851 w 257652"/>
                  <a:gd name="connsiteY78" fmla="*/ 103491 h 239985"/>
                  <a:gd name="connsiteX79" fmla="*/ 56591 w 257652"/>
                  <a:gd name="connsiteY79" fmla="*/ 103158 h 239985"/>
                  <a:gd name="connsiteX80" fmla="*/ 54673 w 257652"/>
                  <a:gd name="connsiteY80" fmla="*/ 100019 h 239985"/>
                  <a:gd name="connsiteX81" fmla="*/ 51550 w 257652"/>
                  <a:gd name="connsiteY81" fmla="*/ 98395 h 239985"/>
                  <a:gd name="connsiteX82" fmla="*/ 36058 w 257652"/>
                  <a:gd name="connsiteY82" fmla="*/ 96930 h 239985"/>
                  <a:gd name="connsiteX83" fmla="*/ 35182 w 257652"/>
                  <a:gd name="connsiteY83" fmla="*/ 95449 h 239985"/>
                  <a:gd name="connsiteX84" fmla="*/ 37982 w 257652"/>
                  <a:gd name="connsiteY84" fmla="*/ 91324 h 239985"/>
                  <a:gd name="connsiteX85" fmla="*/ 38327 w 257652"/>
                  <a:gd name="connsiteY85" fmla="*/ 87379 h 239985"/>
                  <a:gd name="connsiteX86" fmla="*/ 36179 w 257652"/>
                  <a:gd name="connsiteY86" fmla="*/ 86378 h 239985"/>
                  <a:gd name="connsiteX87" fmla="*/ 36165 w 257652"/>
                  <a:gd name="connsiteY87" fmla="*/ 86378 h 239985"/>
                  <a:gd name="connsiteX88" fmla="*/ 19729 w 257652"/>
                  <a:gd name="connsiteY88" fmla="*/ 78349 h 239985"/>
                  <a:gd name="connsiteX89" fmla="*/ 23370 w 257652"/>
                  <a:gd name="connsiteY89" fmla="*/ 69873 h 239985"/>
                  <a:gd name="connsiteX90" fmla="*/ 24487 w 257652"/>
                  <a:gd name="connsiteY90" fmla="*/ 66073 h 239985"/>
                  <a:gd name="connsiteX91" fmla="*/ 22650 w 257652"/>
                  <a:gd name="connsiteY91" fmla="*/ 64684 h 239985"/>
                  <a:gd name="connsiteX92" fmla="*/ 7721 w 257652"/>
                  <a:gd name="connsiteY92" fmla="*/ 55907 h 239985"/>
                  <a:gd name="connsiteX93" fmla="*/ 7637 w 257652"/>
                  <a:gd name="connsiteY93" fmla="*/ 35092 h 239985"/>
                  <a:gd name="connsiteX94" fmla="*/ 7676 w 257652"/>
                  <a:gd name="connsiteY94" fmla="*/ 35083 h 239985"/>
                  <a:gd name="connsiteX95" fmla="*/ 7685 w 257652"/>
                  <a:gd name="connsiteY95" fmla="*/ 35092 h 239985"/>
                  <a:gd name="connsiteX96" fmla="*/ 26327 w 257652"/>
                  <a:gd name="connsiteY96" fmla="*/ 46235 h 239985"/>
                  <a:gd name="connsiteX97" fmla="*/ 46490 w 257652"/>
                  <a:gd name="connsiteY97" fmla="*/ 50715 h 239985"/>
                  <a:gd name="connsiteX98" fmla="*/ 60934 w 257652"/>
                  <a:gd name="connsiteY98" fmla="*/ 56204 h 239985"/>
                  <a:gd name="connsiteX99" fmla="*/ 68353 w 257652"/>
                  <a:gd name="connsiteY99" fmla="*/ 75303 h 239985"/>
                  <a:gd name="connsiteX100" fmla="*/ 68552 w 257652"/>
                  <a:gd name="connsiteY100" fmla="*/ 76246 h 239985"/>
                  <a:gd name="connsiteX101" fmla="*/ 61102 w 257652"/>
                  <a:gd name="connsiteY101" fmla="*/ 97809 h 239985"/>
                  <a:gd name="connsiteX102" fmla="*/ 63220 w 257652"/>
                  <a:gd name="connsiteY102" fmla="*/ 101156 h 239985"/>
                  <a:gd name="connsiteX103" fmla="*/ 66474 w 257652"/>
                  <a:gd name="connsiteY103" fmla="*/ 99361 h 239985"/>
                  <a:gd name="connsiteX104" fmla="*/ 75326 w 257652"/>
                  <a:gd name="connsiteY104" fmla="*/ 74390 h 239985"/>
                  <a:gd name="connsiteX105" fmla="*/ 129746 w 257652"/>
                  <a:gd name="connsiteY105" fmla="*/ 6780 h 239985"/>
                  <a:gd name="connsiteX106" fmla="*/ 208717 w 257652"/>
                  <a:gd name="connsiteY106" fmla="*/ 64174 h 239985"/>
                  <a:gd name="connsiteX107" fmla="*/ 162278 w 257652"/>
                  <a:gd name="connsiteY107" fmla="*/ 113811 h 239985"/>
                  <a:gd name="connsiteX108" fmla="*/ 154812 w 257652"/>
                  <a:gd name="connsiteY108" fmla="*/ 127813 h 239985"/>
                  <a:gd name="connsiteX109" fmla="*/ 152370 w 257652"/>
                  <a:gd name="connsiteY109" fmla="*/ 133464 h 239985"/>
                  <a:gd name="connsiteX110" fmla="*/ 153153 w 257652"/>
                  <a:gd name="connsiteY110" fmla="*/ 135424 h 239985"/>
                  <a:gd name="connsiteX111" fmla="*/ 154331 w 257652"/>
                  <a:gd name="connsiteY111" fmla="*/ 135424 h 239985"/>
                  <a:gd name="connsiteX112" fmla="*/ 158078 w 257652"/>
                  <a:gd name="connsiteY112" fmla="*/ 133895 h 239985"/>
                  <a:gd name="connsiteX113" fmla="*/ 158601 w 257652"/>
                  <a:gd name="connsiteY113" fmla="*/ 133598 h 239985"/>
                  <a:gd name="connsiteX114" fmla="*/ 192649 w 257652"/>
                  <a:gd name="connsiteY114" fmla="*/ 122845 h 239985"/>
                  <a:gd name="connsiteX115" fmla="*/ 208205 w 257652"/>
                  <a:gd name="connsiteY115" fmla="*/ 135702 h 239985"/>
                  <a:gd name="connsiteX116" fmla="*/ 225951 w 257652"/>
                  <a:gd name="connsiteY116" fmla="*/ 154999 h 239985"/>
                  <a:gd name="connsiteX117" fmla="*/ 249878 w 257652"/>
                  <a:gd name="connsiteY117" fmla="*/ 168914 h 239985"/>
                  <a:gd name="connsiteX118" fmla="*/ 249901 w 257652"/>
                  <a:gd name="connsiteY118" fmla="*/ 168946 h 239985"/>
                  <a:gd name="connsiteX119" fmla="*/ 249897 w 257652"/>
                  <a:gd name="connsiteY119" fmla="*/ 168956 h 239985"/>
                  <a:gd name="connsiteX120" fmla="*/ 228407 w 257652"/>
                  <a:gd name="connsiteY120" fmla="*/ 182197 h 23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57652" h="239985">
                    <a:moveTo>
                      <a:pt x="257422" y="165181"/>
                    </a:moveTo>
                    <a:cubicBezTo>
                      <a:pt x="256945" y="164109"/>
                      <a:pt x="255849" y="163448"/>
                      <a:pt x="254678" y="163526"/>
                    </a:cubicBezTo>
                    <a:cubicBezTo>
                      <a:pt x="245484" y="164131"/>
                      <a:pt x="237279" y="157570"/>
                      <a:pt x="229664" y="150790"/>
                    </a:cubicBezTo>
                    <a:cubicBezTo>
                      <a:pt x="223386" y="145172"/>
                      <a:pt x="217671" y="138953"/>
                      <a:pt x="212602" y="132223"/>
                    </a:cubicBezTo>
                    <a:cubicBezTo>
                      <a:pt x="207144" y="125253"/>
                      <a:pt x="203198" y="120218"/>
                      <a:pt x="194293" y="117468"/>
                    </a:cubicBezTo>
                    <a:cubicBezTo>
                      <a:pt x="183463" y="114108"/>
                      <a:pt x="171741" y="118717"/>
                      <a:pt x="162967" y="123909"/>
                    </a:cubicBezTo>
                    <a:cubicBezTo>
                      <a:pt x="164191" y="121588"/>
                      <a:pt x="165541" y="119204"/>
                      <a:pt x="167059" y="116726"/>
                    </a:cubicBezTo>
                    <a:cubicBezTo>
                      <a:pt x="183696" y="89562"/>
                      <a:pt x="218009" y="63992"/>
                      <a:pt x="218009" y="63992"/>
                    </a:cubicBezTo>
                    <a:lnTo>
                      <a:pt x="129939" y="0"/>
                    </a:lnTo>
                    <a:cubicBezTo>
                      <a:pt x="104963" y="16310"/>
                      <a:pt x="85118" y="39361"/>
                      <a:pt x="72702" y="66484"/>
                    </a:cubicBezTo>
                    <a:cubicBezTo>
                      <a:pt x="71380" y="61116"/>
                      <a:pt x="68677" y="56188"/>
                      <a:pt x="64861" y="52188"/>
                    </a:cubicBezTo>
                    <a:cubicBezTo>
                      <a:pt x="59313" y="46761"/>
                      <a:pt x="53984" y="46053"/>
                      <a:pt x="47240" y="45154"/>
                    </a:cubicBezTo>
                    <a:cubicBezTo>
                      <a:pt x="40734" y="44419"/>
                      <a:pt x="34323" y="43002"/>
                      <a:pt x="28114" y="40925"/>
                    </a:cubicBezTo>
                    <a:cubicBezTo>
                      <a:pt x="21838" y="38811"/>
                      <a:pt x="13103" y="35170"/>
                      <a:pt x="9718" y="27998"/>
                    </a:cubicBezTo>
                    <a:cubicBezTo>
                      <a:pt x="9058" y="26600"/>
                      <a:pt x="7389" y="26001"/>
                      <a:pt x="5990" y="26661"/>
                    </a:cubicBezTo>
                    <a:cubicBezTo>
                      <a:pt x="5457" y="26913"/>
                      <a:pt x="5017" y="27326"/>
                      <a:pt x="4733" y="27842"/>
                    </a:cubicBezTo>
                    <a:cubicBezTo>
                      <a:pt x="-100" y="36607"/>
                      <a:pt x="-2094" y="50592"/>
                      <a:pt x="2924" y="58808"/>
                    </a:cubicBezTo>
                    <a:cubicBezTo>
                      <a:pt x="6272" y="63428"/>
                      <a:pt x="11005" y="66862"/>
                      <a:pt x="16436" y="68610"/>
                    </a:cubicBezTo>
                    <a:cubicBezTo>
                      <a:pt x="16447" y="68618"/>
                      <a:pt x="16448" y="68634"/>
                      <a:pt x="16440" y="68645"/>
                    </a:cubicBezTo>
                    <a:cubicBezTo>
                      <a:pt x="16439" y="68647"/>
                      <a:pt x="16437" y="68648"/>
                      <a:pt x="16436" y="68649"/>
                    </a:cubicBezTo>
                    <a:cubicBezTo>
                      <a:pt x="13841" y="71840"/>
                      <a:pt x="13057" y="76136"/>
                      <a:pt x="14358" y="80038"/>
                    </a:cubicBezTo>
                    <a:cubicBezTo>
                      <a:pt x="15935" y="85079"/>
                      <a:pt x="21443" y="90120"/>
                      <a:pt x="30525" y="91573"/>
                    </a:cubicBezTo>
                    <a:cubicBezTo>
                      <a:pt x="30539" y="91574"/>
                      <a:pt x="30549" y="91586"/>
                      <a:pt x="30549" y="91600"/>
                    </a:cubicBezTo>
                    <a:cubicBezTo>
                      <a:pt x="30548" y="91604"/>
                      <a:pt x="30547" y="91609"/>
                      <a:pt x="30544" y="91612"/>
                    </a:cubicBezTo>
                    <a:cubicBezTo>
                      <a:pt x="29912" y="92809"/>
                      <a:pt x="29577" y="94140"/>
                      <a:pt x="29567" y="95493"/>
                    </a:cubicBezTo>
                    <a:cubicBezTo>
                      <a:pt x="29598" y="97763"/>
                      <a:pt x="30671" y="99891"/>
                      <a:pt x="32477" y="101265"/>
                    </a:cubicBezTo>
                    <a:cubicBezTo>
                      <a:pt x="37517" y="105446"/>
                      <a:pt x="46431" y="104819"/>
                      <a:pt x="50559" y="104248"/>
                    </a:cubicBezTo>
                    <a:cubicBezTo>
                      <a:pt x="52082" y="106950"/>
                      <a:pt x="54208" y="109265"/>
                      <a:pt x="56770" y="111013"/>
                    </a:cubicBezTo>
                    <a:lnTo>
                      <a:pt x="57423" y="111470"/>
                    </a:lnTo>
                    <a:cubicBezTo>
                      <a:pt x="54050" y="125409"/>
                      <a:pt x="48371" y="138687"/>
                      <a:pt x="40620" y="150754"/>
                    </a:cubicBezTo>
                    <a:cubicBezTo>
                      <a:pt x="36322" y="157786"/>
                      <a:pt x="30526" y="163785"/>
                      <a:pt x="23647" y="168323"/>
                    </a:cubicBezTo>
                    <a:lnTo>
                      <a:pt x="103946" y="239986"/>
                    </a:lnTo>
                    <a:cubicBezTo>
                      <a:pt x="103946" y="239986"/>
                      <a:pt x="127643" y="231358"/>
                      <a:pt x="139827" y="196633"/>
                    </a:cubicBezTo>
                    <a:cubicBezTo>
                      <a:pt x="143608" y="185843"/>
                      <a:pt x="146798" y="174856"/>
                      <a:pt x="149385" y="163720"/>
                    </a:cubicBezTo>
                    <a:cubicBezTo>
                      <a:pt x="149865" y="163841"/>
                      <a:pt x="150368" y="163830"/>
                      <a:pt x="150841" y="163689"/>
                    </a:cubicBezTo>
                    <a:lnTo>
                      <a:pt x="151595" y="163431"/>
                    </a:lnTo>
                    <a:cubicBezTo>
                      <a:pt x="154107" y="168125"/>
                      <a:pt x="159968" y="178094"/>
                      <a:pt x="165569" y="180715"/>
                    </a:cubicBezTo>
                    <a:cubicBezTo>
                      <a:pt x="167867" y="181948"/>
                      <a:pt x="170630" y="181948"/>
                      <a:pt x="172928" y="180715"/>
                    </a:cubicBezTo>
                    <a:cubicBezTo>
                      <a:pt x="174448" y="179833"/>
                      <a:pt x="175684" y="178535"/>
                      <a:pt x="176490" y="176974"/>
                    </a:cubicBezTo>
                    <a:cubicBezTo>
                      <a:pt x="176495" y="176962"/>
                      <a:pt x="176507" y="176956"/>
                      <a:pt x="176519" y="176961"/>
                    </a:cubicBezTo>
                    <a:cubicBezTo>
                      <a:pt x="176525" y="176963"/>
                      <a:pt x="176530" y="176968"/>
                      <a:pt x="176532" y="176974"/>
                    </a:cubicBezTo>
                    <a:cubicBezTo>
                      <a:pt x="184208" y="187881"/>
                      <a:pt x="192153" y="190091"/>
                      <a:pt x="197320" y="190091"/>
                    </a:cubicBezTo>
                    <a:cubicBezTo>
                      <a:pt x="197965" y="190091"/>
                      <a:pt x="198610" y="190057"/>
                      <a:pt x="199252" y="189987"/>
                    </a:cubicBezTo>
                    <a:cubicBezTo>
                      <a:pt x="202156" y="189726"/>
                      <a:pt x="204829" y="188296"/>
                      <a:pt x="206656" y="186025"/>
                    </a:cubicBezTo>
                    <a:cubicBezTo>
                      <a:pt x="208218" y="183955"/>
                      <a:pt x="209236" y="181527"/>
                      <a:pt x="209616" y="178962"/>
                    </a:cubicBezTo>
                    <a:cubicBezTo>
                      <a:pt x="209616" y="178937"/>
                      <a:pt x="209639" y="178928"/>
                      <a:pt x="209656" y="178945"/>
                    </a:cubicBezTo>
                    <a:cubicBezTo>
                      <a:pt x="214114" y="182670"/>
                      <a:pt x="221182" y="187492"/>
                      <a:pt x="228163" y="187792"/>
                    </a:cubicBezTo>
                    <a:cubicBezTo>
                      <a:pt x="239645" y="188352"/>
                      <a:pt x="251687" y="177940"/>
                      <a:pt x="257260" y="167791"/>
                    </a:cubicBezTo>
                    <a:cubicBezTo>
                      <a:pt x="257719" y="166995"/>
                      <a:pt x="257779" y="166029"/>
                      <a:pt x="257422" y="165181"/>
                    </a:cubicBezTo>
                    <a:close/>
                    <a:moveTo>
                      <a:pt x="228410" y="182197"/>
                    </a:moveTo>
                    <a:cubicBezTo>
                      <a:pt x="219474" y="181816"/>
                      <a:pt x="209213" y="170928"/>
                      <a:pt x="209112" y="170819"/>
                    </a:cubicBezTo>
                    <a:cubicBezTo>
                      <a:pt x="208057" y="169688"/>
                      <a:pt x="206285" y="169627"/>
                      <a:pt x="205154" y="170682"/>
                    </a:cubicBezTo>
                    <a:cubicBezTo>
                      <a:pt x="204508" y="171285"/>
                      <a:pt x="204185" y="172158"/>
                      <a:pt x="204282" y="173036"/>
                    </a:cubicBezTo>
                    <a:cubicBezTo>
                      <a:pt x="204639" y="176331"/>
                      <a:pt x="203937" y="179654"/>
                      <a:pt x="202277" y="182521"/>
                    </a:cubicBezTo>
                    <a:cubicBezTo>
                      <a:pt x="201381" y="183634"/>
                      <a:pt x="200061" y="184322"/>
                      <a:pt x="198636" y="184417"/>
                    </a:cubicBezTo>
                    <a:cubicBezTo>
                      <a:pt x="191355" y="185207"/>
                      <a:pt x="184051" y="179690"/>
                      <a:pt x="178061" y="168864"/>
                    </a:cubicBezTo>
                    <a:cubicBezTo>
                      <a:pt x="177311" y="167511"/>
                      <a:pt x="175607" y="167023"/>
                      <a:pt x="174254" y="167773"/>
                    </a:cubicBezTo>
                    <a:cubicBezTo>
                      <a:pt x="173471" y="168207"/>
                      <a:pt x="172943" y="168989"/>
                      <a:pt x="172833" y="169878"/>
                    </a:cubicBezTo>
                    <a:cubicBezTo>
                      <a:pt x="172393" y="173429"/>
                      <a:pt x="171195" y="175274"/>
                      <a:pt x="170217" y="175814"/>
                    </a:cubicBezTo>
                    <a:cubicBezTo>
                      <a:pt x="169999" y="175932"/>
                      <a:pt x="169341" y="176296"/>
                      <a:pt x="167944" y="175641"/>
                    </a:cubicBezTo>
                    <a:cubicBezTo>
                      <a:pt x="164023" y="173804"/>
                      <a:pt x="158179" y="164246"/>
                      <a:pt x="155426" y="158651"/>
                    </a:cubicBezTo>
                    <a:cubicBezTo>
                      <a:pt x="154749" y="157276"/>
                      <a:pt x="153093" y="156701"/>
                      <a:pt x="151710" y="157360"/>
                    </a:cubicBezTo>
                    <a:cubicBezTo>
                      <a:pt x="151710" y="157360"/>
                      <a:pt x="151379" y="157511"/>
                      <a:pt x="150869" y="157724"/>
                    </a:cubicBezTo>
                    <a:cubicBezTo>
                      <a:pt x="151710" y="154271"/>
                      <a:pt x="152572" y="150941"/>
                      <a:pt x="153516" y="147656"/>
                    </a:cubicBezTo>
                    <a:cubicBezTo>
                      <a:pt x="154052" y="145777"/>
                      <a:pt x="152964" y="143818"/>
                      <a:pt x="151084" y="143281"/>
                    </a:cubicBezTo>
                    <a:cubicBezTo>
                      <a:pt x="150762" y="143189"/>
                      <a:pt x="150429" y="143143"/>
                      <a:pt x="150094" y="143145"/>
                    </a:cubicBezTo>
                    <a:lnTo>
                      <a:pt x="150094" y="143145"/>
                    </a:lnTo>
                    <a:cubicBezTo>
                      <a:pt x="149282" y="143465"/>
                      <a:pt x="148662" y="144140"/>
                      <a:pt x="148414" y="144977"/>
                    </a:cubicBezTo>
                    <a:cubicBezTo>
                      <a:pt x="147086" y="149552"/>
                      <a:pt x="145966" y="154181"/>
                      <a:pt x="144751" y="159107"/>
                    </a:cubicBezTo>
                    <a:lnTo>
                      <a:pt x="144162" y="161507"/>
                    </a:lnTo>
                    <a:lnTo>
                      <a:pt x="144006" y="162137"/>
                    </a:lnTo>
                    <a:cubicBezTo>
                      <a:pt x="141449" y="173184"/>
                      <a:pt x="138290" y="184083"/>
                      <a:pt x="134543" y="194784"/>
                    </a:cubicBezTo>
                    <a:cubicBezTo>
                      <a:pt x="125803" y="219663"/>
                      <a:pt x="111123" y="229957"/>
                      <a:pt x="104915" y="233340"/>
                    </a:cubicBezTo>
                    <a:lnTo>
                      <a:pt x="32505" y="168693"/>
                    </a:lnTo>
                    <a:cubicBezTo>
                      <a:pt x="37608" y="164406"/>
                      <a:pt x="41979" y="159316"/>
                      <a:pt x="45445" y="153624"/>
                    </a:cubicBezTo>
                    <a:cubicBezTo>
                      <a:pt x="53716" y="140630"/>
                      <a:pt x="59736" y="126334"/>
                      <a:pt x="63253" y="111338"/>
                    </a:cubicBezTo>
                    <a:cubicBezTo>
                      <a:pt x="63524" y="110285"/>
                      <a:pt x="63167" y="109170"/>
                      <a:pt x="62335" y="108471"/>
                    </a:cubicBezTo>
                    <a:lnTo>
                      <a:pt x="58941" y="105648"/>
                    </a:lnTo>
                    <a:cubicBezTo>
                      <a:pt x="58164" y="105012"/>
                      <a:pt x="57462" y="104288"/>
                      <a:pt x="56851" y="103491"/>
                    </a:cubicBezTo>
                    <a:lnTo>
                      <a:pt x="56591" y="103158"/>
                    </a:lnTo>
                    <a:cubicBezTo>
                      <a:pt x="55853" y="102175"/>
                      <a:pt x="55211" y="101124"/>
                      <a:pt x="54673" y="100019"/>
                    </a:cubicBezTo>
                    <a:cubicBezTo>
                      <a:pt x="54145" y="98809"/>
                      <a:pt x="52844" y="98133"/>
                      <a:pt x="51550" y="98395"/>
                    </a:cubicBezTo>
                    <a:cubicBezTo>
                      <a:pt x="48691" y="98977"/>
                      <a:pt x="39710" y="99955"/>
                      <a:pt x="36058" y="96930"/>
                    </a:cubicBezTo>
                    <a:cubicBezTo>
                      <a:pt x="35187" y="96213"/>
                      <a:pt x="35185" y="95659"/>
                      <a:pt x="35182" y="95449"/>
                    </a:cubicBezTo>
                    <a:cubicBezTo>
                      <a:pt x="35528" y="93755"/>
                      <a:pt x="36536" y="92271"/>
                      <a:pt x="37982" y="91324"/>
                    </a:cubicBezTo>
                    <a:cubicBezTo>
                      <a:pt x="39167" y="90330"/>
                      <a:pt x="39321" y="88563"/>
                      <a:pt x="38327" y="87379"/>
                    </a:cubicBezTo>
                    <a:cubicBezTo>
                      <a:pt x="37794" y="86743"/>
                      <a:pt x="37008" y="86377"/>
                      <a:pt x="36179" y="86378"/>
                    </a:cubicBezTo>
                    <a:lnTo>
                      <a:pt x="36165" y="86378"/>
                    </a:lnTo>
                    <a:cubicBezTo>
                      <a:pt x="25120" y="86361"/>
                      <a:pt x="20609" y="81150"/>
                      <a:pt x="19729" y="78349"/>
                    </a:cubicBezTo>
                    <a:cubicBezTo>
                      <a:pt x="18793" y="75019"/>
                      <a:pt x="20310" y="71487"/>
                      <a:pt x="23370" y="69873"/>
                    </a:cubicBezTo>
                    <a:cubicBezTo>
                      <a:pt x="24728" y="69132"/>
                      <a:pt x="25228" y="67431"/>
                      <a:pt x="24487" y="66073"/>
                    </a:cubicBezTo>
                    <a:cubicBezTo>
                      <a:pt x="24103" y="65368"/>
                      <a:pt x="23434" y="64862"/>
                      <a:pt x="22650" y="64684"/>
                    </a:cubicBezTo>
                    <a:cubicBezTo>
                      <a:pt x="19530" y="63969"/>
                      <a:pt x="10771" y="61007"/>
                      <a:pt x="7721" y="55907"/>
                    </a:cubicBezTo>
                    <a:cubicBezTo>
                      <a:pt x="4641" y="50866"/>
                      <a:pt x="5201" y="42093"/>
                      <a:pt x="7637" y="35092"/>
                    </a:cubicBezTo>
                    <a:cubicBezTo>
                      <a:pt x="7645" y="35079"/>
                      <a:pt x="7662" y="35075"/>
                      <a:pt x="7676" y="35083"/>
                    </a:cubicBezTo>
                    <a:cubicBezTo>
                      <a:pt x="7679" y="35085"/>
                      <a:pt x="7682" y="35088"/>
                      <a:pt x="7685" y="35092"/>
                    </a:cubicBezTo>
                    <a:cubicBezTo>
                      <a:pt x="12706" y="41065"/>
                      <a:pt x="20463" y="44257"/>
                      <a:pt x="26327" y="46235"/>
                    </a:cubicBezTo>
                    <a:cubicBezTo>
                      <a:pt x="32871" y="48434"/>
                      <a:pt x="39630" y="49936"/>
                      <a:pt x="46490" y="50715"/>
                    </a:cubicBezTo>
                    <a:cubicBezTo>
                      <a:pt x="52869" y="51555"/>
                      <a:pt x="56720" y="52079"/>
                      <a:pt x="60934" y="56204"/>
                    </a:cubicBezTo>
                    <a:cubicBezTo>
                      <a:pt x="65663" y="61447"/>
                      <a:pt x="68303" y="68243"/>
                      <a:pt x="68353" y="75303"/>
                    </a:cubicBezTo>
                    <a:cubicBezTo>
                      <a:pt x="68366" y="75626"/>
                      <a:pt x="68433" y="75945"/>
                      <a:pt x="68552" y="76246"/>
                    </a:cubicBezTo>
                    <a:cubicBezTo>
                      <a:pt x="65213" y="84667"/>
                      <a:pt x="62886" y="91727"/>
                      <a:pt x="61102" y="97809"/>
                    </a:cubicBezTo>
                    <a:cubicBezTo>
                      <a:pt x="60763" y="99318"/>
                      <a:pt x="61711" y="100817"/>
                      <a:pt x="63220" y="101156"/>
                    </a:cubicBezTo>
                    <a:cubicBezTo>
                      <a:pt x="64603" y="101467"/>
                      <a:pt x="66000" y="100696"/>
                      <a:pt x="66474" y="99361"/>
                    </a:cubicBezTo>
                    <a:cubicBezTo>
                      <a:pt x="68964" y="90881"/>
                      <a:pt x="71919" y="82545"/>
                      <a:pt x="75326" y="74390"/>
                    </a:cubicBezTo>
                    <a:cubicBezTo>
                      <a:pt x="86738" y="47178"/>
                      <a:pt x="105601" y="23743"/>
                      <a:pt x="129746" y="6780"/>
                    </a:cubicBezTo>
                    <a:lnTo>
                      <a:pt x="208717" y="64174"/>
                    </a:lnTo>
                    <a:cubicBezTo>
                      <a:pt x="197941" y="72911"/>
                      <a:pt x="175213" y="92702"/>
                      <a:pt x="162278" y="113811"/>
                    </a:cubicBezTo>
                    <a:cubicBezTo>
                      <a:pt x="159502" y="118319"/>
                      <a:pt x="157009" y="122995"/>
                      <a:pt x="154812" y="127813"/>
                    </a:cubicBezTo>
                    <a:cubicBezTo>
                      <a:pt x="153914" y="129731"/>
                      <a:pt x="153107" y="131610"/>
                      <a:pt x="152370" y="133464"/>
                    </a:cubicBezTo>
                    <a:cubicBezTo>
                      <a:pt x="152045" y="134222"/>
                      <a:pt x="152396" y="135099"/>
                      <a:pt x="153153" y="135424"/>
                    </a:cubicBezTo>
                    <a:cubicBezTo>
                      <a:pt x="153529" y="135586"/>
                      <a:pt x="153955" y="135586"/>
                      <a:pt x="154331" y="135424"/>
                    </a:cubicBezTo>
                    <a:lnTo>
                      <a:pt x="158078" y="133895"/>
                    </a:lnTo>
                    <a:lnTo>
                      <a:pt x="158601" y="133598"/>
                    </a:lnTo>
                    <a:cubicBezTo>
                      <a:pt x="166213" y="127880"/>
                      <a:pt x="180537" y="119095"/>
                      <a:pt x="192649" y="122845"/>
                    </a:cubicBezTo>
                    <a:cubicBezTo>
                      <a:pt x="199882" y="125085"/>
                      <a:pt x="203010" y="129079"/>
                      <a:pt x="208205" y="135702"/>
                    </a:cubicBezTo>
                    <a:cubicBezTo>
                      <a:pt x="213477" y="142697"/>
                      <a:pt x="219421" y="149160"/>
                      <a:pt x="225951" y="154999"/>
                    </a:cubicBezTo>
                    <a:cubicBezTo>
                      <a:pt x="232815" y="161110"/>
                      <a:pt x="240740" y="167520"/>
                      <a:pt x="249878" y="168914"/>
                    </a:cubicBezTo>
                    <a:cubicBezTo>
                      <a:pt x="249893" y="168917"/>
                      <a:pt x="249904" y="168931"/>
                      <a:pt x="249901" y="168946"/>
                    </a:cubicBezTo>
                    <a:cubicBezTo>
                      <a:pt x="249901" y="168950"/>
                      <a:pt x="249899" y="168953"/>
                      <a:pt x="249897" y="168956"/>
                    </a:cubicBezTo>
                    <a:cubicBezTo>
                      <a:pt x="244540" y="176249"/>
                      <a:pt x="235988" y="182594"/>
                      <a:pt x="228407" y="182197"/>
                    </a:cubicBezTo>
                    <a:close/>
                  </a:path>
                </a:pathLst>
              </a:custGeom>
              <a:solidFill>
                <a:schemeClr val="bg1"/>
              </a:solidFill>
              <a:ln w="2778" cap="flat">
                <a:noFill/>
                <a:prstDash val="solid"/>
                <a:miter/>
              </a:ln>
            </p:spPr>
            <p:txBody>
              <a:bodyPr rtlCol="0" anchor="ctr"/>
              <a:lstStyle/>
              <a:p>
                <a:endParaRPr lang="de-DE"/>
              </a:p>
            </p:txBody>
          </p:sp>
        </p:grpSp>
        <p:grpSp>
          <p:nvGrpSpPr>
            <p:cNvPr id="81" name="Grafik 51" descr="Medaille Silhouette">
              <a:extLst>
                <a:ext uri="{FF2B5EF4-FFF2-40B4-BE49-F238E27FC236}">
                  <a16:creationId xmlns:a16="http://schemas.microsoft.com/office/drawing/2014/main" id="{59799ADC-56C3-BACA-B5A5-9CC01E758D63}"/>
                </a:ext>
              </a:extLst>
            </p:cNvPr>
            <p:cNvGrpSpPr/>
            <p:nvPr/>
          </p:nvGrpSpPr>
          <p:grpSpPr>
            <a:xfrm>
              <a:off x="4304265" y="5547881"/>
              <a:ext cx="165982" cy="224060"/>
              <a:chOff x="4380465" y="5779656"/>
              <a:chExt cx="165982" cy="224060"/>
            </a:xfrm>
            <a:solidFill>
              <a:schemeClr val="bg1"/>
            </a:solidFill>
          </p:grpSpPr>
          <p:sp>
            <p:nvSpPr>
              <p:cNvPr id="82" name="Freihandform: Form 81">
                <a:extLst>
                  <a:ext uri="{FF2B5EF4-FFF2-40B4-BE49-F238E27FC236}">
                    <a16:creationId xmlns:a16="http://schemas.microsoft.com/office/drawing/2014/main" id="{0AAD3009-27B1-AEF1-253F-FD2DC6DEAB44}"/>
                  </a:ext>
                </a:extLst>
              </p:cNvPr>
              <p:cNvSpPr/>
              <p:nvPr/>
            </p:nvSpPr>
            <p:spPr>
              <a:xfrm>
                <a:off x="4427302" y="5903125"/>
                <a:ext cx="71993" cy="71992"/>
              </a:xfrm>
              <a:custGeom>
                <a:avLst/>
                <a:gdLst>
                  <a:gd name="connsiteX0" fmla="*/ 36147 w 71993"/>
                  <a:gd name="connsiteY0" fmla="*/ 0 h 71992"/>
                  <a:gd name="connsiteX1" fmla="*/ 0 w 71993"/>
                  <a:gd name="connsiteY1" fmla="*/ 35845 h 71992"/>
                  <a:gd name="connsiteX2" fmla="*/ 35846 w 71993"/>
                  <a:gd name="connsiteY2" fmla="*/ 71992 h 71992"/>
                  <a:gd name="connsiteX3" fmla="*/ 71993 w 71993"/>
                  <a:gd name="connsiteY3" fmla="*/ 36147 h 71992"/>
                  <a:gd name="connsiteX4" fmla="*/ 71993 w 71993"/>
                  <a:gd name="connsiteY4" fmla="*/ 36125 h 71992"/>
                  <a:gd name="connsiteX5" fmla="*/ 36333 w 71993"/>
                  <a:gd name="connsiteY5" fmla="*/ 1 h 71992"/>
                  <a:gd name="connsiteX6" fmla="*/ 36147 w 71993"/>
                  <a:gd name="connsiteY6" fmla="*/ 0 h 71992"/>
                  <a:gd name="connsiteX7" fmla="*/ 36147 w 71993"/>
                  <a:gd name="connsiteY7" fmla="*/ 66398 h 71992"/>
                  <a:gd name="connsiteX8" fmla="*/ 5601 w 71993"/>
                  <a:gd name="connsiteY8" fmla="*/ 36153 h 71992"/>
                  <a:gd name="connsiteX9" fmla="*/ 35846 w 71993"/>
                  <a:gd name="connsiteY9" fmla="*/ 5608 h 71992"/>
                  <a:gd name="connsiteX10" fmla="*/ 66392 w 71993"/>
                  <a:gd name="connsiteY10" fmla="*/ 35852 h 71992"/>
                  <a:gd name="connsiteX11" fmla="*/ 66392 w 71993"/>
                  <a:gd name="connsiteY11" fmla="*/ 36153 h 71992"/>
                  <a:gd name="connsiteX12" fmla="*/ 36147 w 71993"/>
                  <a:gd name="connsiteY12" fmla="*/ 66398 h 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93" h="71992">
                    <a:moveTo>
                      <a:pt x="36147" y="0"/>
                    </a:moveTo>
                    <a:cubicBezTo>
                      <a:pt x="16267" y="-83"/>
                      <a:pt x="84" y="15965"/>
                      <a:pt x="0" y="35845"/>
                    </a:cubicBezTo>
                    <a:cubicBezTo>
                      <a:pt x="-83" y="55725"/>
                      <a:pt x="15965" y="71909"/>
                      <a:pt x="35846" y="71992"/>
                    </a:cubicBezTo>
                    <a:cubicBezTo>
                      <a:pt x="55726" y="72076"/>
                      <a:pt x="71909" y="56027"/>
                      <a:pt x="71993" y="36147"/>
                    </a:cubicBezTo>
                    <a:cubicBezTo>
                      <a:pt x="71993" y="36140"/>
                      <a:pt x="71993" y="36133"/>
                      <a:pt x="71993" y="36125"/>
                    </a:cubicBezTo>
                    <a:cubicBezTo>
                      <a:pt x="72121" y="16303"/>
                      <a:pt x="56156" y="129"/>
                      <a:pt x="36333" y="1"/>
                    </a:cubicBezTo>
                    <a:cubicBezTo>
                      <a:pt x="36271" y="1"/>
                      <a:pt x="36209" y="0"/>
                      <a:pt x="36147" y="0"/>
                    </a:cubicBezTo>
                    <a:close/>
                    <a:moveTo>
                      <a:pt x="36147" y="66398"/>
                    </a:moveTo>
                    <a:cubicBezTo>
                      <a:pt x="19361" y="66481"/>
                      <a:pt x="5685" y="52940"/>
                      <a:pt x="5601" y="36153"/>
                    </a:cubicBezTo>
                    <a:cubicBezTo>
                      <a:pt x="5518" y="19367"/>
                      <a:pt x="19059" y="5691"/>
                      <a:pt x="35846" y="5608"/>
                    </a:cubicBezTo>
                    <a:cubicBezTo>
                      <a:pt x="52633" y="5524"/>
                      <a:pt x="66308" y="19065"/>
                      <a:pt x="66392" y="35852"/>
                    </a:cubicBezTo>
                    <a:cubicBezTo>
                      <a:pt x="66392" y="35952"/>
                      <a:pt x="66392" y="36053"/>
                      <a:pt x="66392" y="36153"/>
                    </a:cubicBezTo>
                    <a:cubicBezTo>
                      <a:pt x="66294" y="52816"/>
                      <a:pt x="52810" y="66300"/>
                      <a:pt x="36147" y="66398"/>
                    </a:cubicBezTo>
                    <a:close/>
                  </a:path>
                </a:pathLst>
              </a:custGeom>
              <a:solidFill>
                <a:schemeClr val="bg1"/>
              </a:solidFill>
              <a:ln w="2778"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9996928E-9F0D-96A1-8A9A-C6756D209540}"/>
                  </a:ext>
                </a:extLst>
              </p:cNvPr>
              <p:cNvSpPr/>
              <p:nvPr/>
            </p:nvSpPr>
            <p:spPr>
              <a:xfrm>
                <a:off x="4380465" y="5779656"/>
                <a:ext cx="165982" cy="224060"/>
              </a:xfrm>
              <a:custGeom>
                <a:avLst/>
                <a:gdLst>
                  <a:gd name="connsiteX0" fmla="*/ 126864 w 165982"/>
                  <a:gd name="connsiteY0" fmla="*/ 112495 h 224060"/>
                  <a:gd name="connsiteX1" fmla="*/ 165983 w 165982"/>
                  <a:gd name="connsiteY1" fmla="*/ 24335 h 224060"/>
                  <a:gd name="connsiteX2" fmla="*/ 150144 w 165982"/>
                  <a:gd name="connsiteY2" fmla="*/ 0 h 224060"/>
                  <a:gd name="connsiteX3" fmla="*/ 15836 w 165982"/>
                  <a:gd name="connsiteY3" fmla="*/ 0 h 224060"/>
                  <a:gd name="connsiteX4" fmla="*/ 0 w 165982"/>
                  <a:gd name="connsiteY4" fmla="*/ 24335 h 224060"/>
                  <a:gd name="connsiteX5" fmla="*/ 39119 w 165982"/>
                  <a:gd name="connsiteY5" fmla="*/ 112495 h 224060"/>
                  <a:gd name="connsiteX6" fmla="*/ 35835 w 165982"/>
                  <a:gd name="connsiteY6" fmla="*/ 203524 h 224060"/>
                  <a:gd name="connsiteX7" fmla="*/ 126864 w 165982"/>
                  <a:gd name="connsiteY7" fmla="*/ 206808 h 224060"/>
                  <a:gd name="connsiteX8" fmla="*/ 130148 w 165982"/>
                  <a:gd name="connsiteY8" fmla="*/ 115779 h 224060"/>
                  <a:gd name="connsiteX9" fmla="*/ 126864 w 165982"/>
                  <a:gd name="connsiteY9" fmla="*/ 112495 h 224060"/>
                  <a:gd name="connsiteX10" fmla="*/ 159629 w 165982"/>
                  <a:gd name="connsiteY10" fmla="*/ 24842 h 224060"/>
                  <a:gd name="connsiteX11" fmla="*/ 122414 w 165982"/>
                  <a:gd name="connsiteY11" fmla="*/ 108711 h 224060"/>
                  <a:gd name="connsiteX12" fmla="*/ 97353 w 165982"/>
                  <a:gd name="connsiteY12" fmla="*/ 96812 h 224060"/>
                  <a:gd name="connsiteX13" fmla="*/ 118026 w 165982"/>
                  <a:gd name="connsiteY13" fmla="*/ 50127 h 224060"/>
                  <a:gd name="connsiteX14" fmla="*/ 138332 w 165982"/>
                  <a:gd name="connsiteY14" fmla="*/ 5601 h 224060"/>
                  <a:gd name="connsiteX15" fmla="*/ 147114 w 165982"/>
                  <a:gd name="connsiteY15" fmla="*/ 5601 h 224060"/>
                  <a:gd name="connsiteX16" fmla="*/ 74303 w 165982"/>
                  <a:gd name="connsiteY16" fmla="*/ 95774 h 224060"/>
                  <a:gd name="connsiteX17" fmla="*/ 53054 w 165982"/>
                  <a:gd name="connsiteY17" fmla="*/ 47797 h 224060"/>
                  <a:gd name="connsiteX18" fmla="*/ 49133 w 165982"/>
                  <a:gd name="connsiteY18" fmla="*/ 39206 h 224060"/>
                  <a:gd name="connsiteX19" fmla="*/ 116847 w 165982"/>
                  <a:gd name="connsiteY19" fmla="*/ 39206 h 224060"/>
                  <a:gd name="connsiteX20" fmla="*/ 112926 w 165982"/>
                  <a:gd name="connsiteY20" fmla="*/ 47825 h 224060"/>
                  <a:gd name="connsiteX21" fmla="*/ 91682 w 165982"/>
                  <a:gd name="connsiteY21" fmla="*/ 95774 h 224060"/>
                  <a:gd name="connsiteX22" fmla="*/ 74300 w 165982"/>
                  <a:gd name="connsiteY22" fmla="*/ 95774 h 224060"/>
                  <a:gd name="connsiteX23" fmla="*/ 119390 w 165982"/>
                  <a:gd name="connsiteY23" fmla="*/ 33605 h 224060"/>
                  <a:gd name="connsiteX24" fmla="*/ 46579 w 165982"/>
                  <a:gd name="connsiteY24" fmla="*/ 33605 h 224060"/>
                  <a:gd name="connsiteX25" fmla="*/ 33804 w 165982"/>
                  <a:gd name="connsiteY25" fmla="*/ 5601 h 224060"/>
                  <a:gd name="connsiteX26" fmla="*/ 132176 w 165982"/>
                  <a:gd name="connsiteY26" fmla="*/ 5601 h 224060"/>
                  <a:gd name="connsiteX27" fmla="*/ 6351 w 165982"/>
                  <a:gd name="connsiteY27" fmla="*/ 24842 h 224060"/>
                  <a:gd name="connsiteX28" fmla="*/ 18875 w 165982"/>
                  <a:gd name="connsiteY28" fmla="*/ 5601 h 224060"/>
                  <a:gd name="connsiteX29" fmla="*/ 27648 w 165982"/>
                  <a:gd name="connsiteY29" fmla="*/ 5601 h 224060"/>
                  <a:gd name="connsiteX30" fmla="*/ 47943 w 165982"/>
                  <a:gd name="connsiteY30" fmla="*/ 50102 h 224060"/>
                  <a:gd name="connsiteX31" fmla="*/ 68630 w 165982"/>
                  <a:gd name="connsiteY31" fmla="*/ 96821 h 224060"/>
                  <a:gd name="connsiteX32" fmla="*/ 43566 w 165982"/>
                  <a:gd name="connsiteY32" fmla="*/ 108720 h 224060"/>
                  <a:gd name="connsiteX33" fmla="*/ 82984 w 165982"/>
                  <a:gd name="connsiteY33" fmla="*/ 218431 h 224060"/>
                  <a:gd name="connsiteX34" fmla="*/ 24142 w 165982"/>
                  <a:gd name="connsiteY34" fmla="*/ 159623 h 224060"/>
                  <a:gd name="connsiteX35" fmla="*/ 82951 w 165982"/>
                  <a:gd name="connsiteY35" fmla="*/ 100781 h 224060"/>
                  <a:gd name="connsiteX36" fmla="*/ 141793 w 165982"/>
                  <a:gd name="connsiteY36" fmla="*/ 159589 h 224060"/>
                  <a:gd name="connsiteX37" fmla="*/ 141793 w 165982"/>
                  <a:gd name="connsiteY37" fmla="*/ 159606 h 224060"/>
                  <a:gd name="connsiteX38" fmla="*/ 82984 w 165982"/>
                  <a:gd name="connsiteY38" fmla="*/ 218431 h 22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982" h="224060">
                    <a:moveTo>
                      <a:pt x="126864" y="112495"/>
                    </a:moveTo>
                    <a:lnTo>
                      <a:pt x="165983" y="24335"/>
                    </a:lnTo>
                    <a:lnTo>
                      <a:pt x="150144" y="0"/>
                    </a:lnTo>
                    <a:lnTo>
                      <a:pt x="15836" y="0"/>
                    </a:lnTo>
                    <a:lnTo>
                      <a:pt x="0" y="24335"/>
                    </a:lnTo>
                    <a:lnTo>
                      <a:pt x="39119" y="112495"/>
                    </a:lnTo>
                    <a:cubicBezTo>
                      <a:pt x="13075" y="136725"/>
                      <a:pt x="11605" y="177480"/>
                      <a:pt x="35835" y="203524"/>
                    </a:cubicBezTo>
                    <a:cubicBezTo>
                      <a:pt x="60065" y="229567"/>
                      <a:pt x="100820" y="231038"/>
                      <a:pt x="126864" y="206808"/>
                    </a:cubicBezTo>
                    <a:cubicBezTo>
                      <a:pt x="152908" y="182578"/>
                      <a:pt x="154378" y="141823"/>
                      <a:pt x="130148" y="115779"/>
                    </a:cubicBezTo>
                    <a:cubicBezTo>
                      <a:pt x="129093" y="114645"/>
                      <a:pt x="127998" y="113550"/>
                      <a:pt x="126864" y="112495"/>
                    </a:cubicBezTo>
                    <a:close/>
                    <a:moveTo>
                      <a:pt x="159629" y="24842"/>
                    </a:moveTo>
                    <a:lnTo>
                      <a:pt x="122414" y="108711"/>
                    </a:lnTo>
                    <a:cubicBezTo>
                      <a:pt x="115028" y="102965"/>
                      <a:pt x="106475" y="98904"/>
                      <a:pt x="97353" y="96812"/>
                    </a:cubicBezTo>
                    <a:lnTo>
                      <a:pt x="118026" y="50127"/>
                    </a:lnTo>
                    <a:lnTo>
                      <a:pt x="138332" y="5601"/>
                    </a:lnTo>
                    <a:lnTo>
                      <a:pt x="147114" y="5601"/>
                    </a:lnTo>
                    <a:close/>
                    <a:moveTo>
                      <a:pt x="74303" y="95774"/>
                    </a:moveTo>
                    <a:lnTo>
                      <a:pt x="53054" y="47797"/>
                    </a:lnTo>
                    <a:lnTo>
                      <a:pt x="49133" y="39206"/>
                    </a:lnTo>
                    <a:lnTo>
                      <a:pt x="116847" y="39206"/>
                    </a:lnTo>
                    <a:lnTo>
                      <a:pt x="112926" y="47825"/>
                    </a:lnTo>
                    <a:lnTo>
                      <a:pt x="91682" y="95774"/>
                    </a:lnTo>
                    <a:cubicBezTo>
                      <a:pt x="85916" y="94971"/>
                      <a:pt x="80067" y="94971"/>
                      <a:pt x="74300" y="95774"/>
                    </a:cubicBezTo>
                    <a:close/>
                    <a:moveTo>
                      <a:pt x="119390" y="33605"/>
                    </a:moveTo>
                    <a:lnTo>
                      <a:pt x="46579" y="33605"/>
                    </a:lnTo>
                    <a:lnTo>
                      <a:pt x="33804" y="5601"/>
                    </a:lnTo>
                    <a:lnTo>
                      <a:pt x="132176" y="5601"/>
                    </a:lnTo>
                    <a:close/>
                    <a:moveTo>
                      <a:pt x="6351" y="24842"/>
                    </a:moveTo>
                    <a:lnTo>
                      <a:pt x="18875" y="5601"/>
                    </a:lnTo>
                    <a:lnTo>
                      <a:pt x="27648" y="5601"/>
                    </a:lnTo>
                    <a:lnTo>
                      <a:pt x="47943" y="50102"/>
                    </a:lnTo>
                    <a:lnTo>
                      <a:pt x="68630" y="96821"/>
                    </a:lnTo>
                    <a:cubicBezTo>
                      <a:pt x="59508" y="98913"/>
                      <a:pt x="50953" y="102974"/>
                      <a:pt x="43566" y="108720"/>
                    </a:cubicBezTo>
                    <a:close/>
                    <a:moveTo>
                      <a:pt x="82984" y="218431"/>
                    </a:moveTo>
                    <a:cubicBezTo>
                      <a:pt x="50496" y="218440"/>
                      <a:pt x="24152" y="192111"/>
                      <a:pt x="24142" y="159623"/>
                    </a:cubicBezTo>
                    <a:cubicBezTo>
                      <a:pt x="24133" y="127134"/>
                      <a:pt x="50462" y="100790"/>
                      <a:pt x="82951" y="100781"/>
                    </a:cubicBezTo>
                    <a:cubicBezTo>
                      <a:pt x="115439" y="100771"/>
                      <a:pt x="141784" y="127101"/>
                      <a:pt x="141793" y="159589"/>
                    </a:cubicBezTo>
                    <a:cubicBezTo>
                      <a:pt x="141793" y="159595"/>
                      <a:pt x="141793" y="159600"/>
                      <a:pt x="141793" y="159606"/>
                    </a:cubicBezTo>
                    <a:cubicBezTo>
                      <a:pt x="141761" y="192074"/>
                      <a:pt x="115453" y="218389"/>
                      <a:pt x="82984" y="218431"/>
                    </a:cubicBezTo>
                    <a:close/>
                  </a:path>
                </a:pathLst>
              </a:custGeom>
              <a:solidFill>
                <a:schemeClr val="bg1"/>
              </a:solidFill>
              <a:ln w="2778" cap="flat">
                <a:noFill/>
                <a:prstDash val="solid"/>
                <a:miter/>
              </a:ln>
            </p:spPr>
            <p:txBody>
              <a:bodyPr rtlCol="0" anchor="ctr"/>
              <a:lstStyle/>
              <a:p>
                <a:endParaRPr lang="de-DE"/>
              </a:p>
            </p:txBody>
          </p:sp>
        </p:grpSp>
      </p:grpSp>
      <p:sp>
        <p:nvSpPr>
          <p:cNvPr id="53" name="Textfeld 52">
            <a:extLst>
              <a:ext uri="{FF2B5EF4-FFF2-40B4-BE49-F238E27FC236}">
                <a16:creationId xmlns:a16="http://schemas.microsoft.com/office/drawing/2014/main" id="{CCAC3A89-8B03-8C18-0B42-8FE6E514698F}"/>
              </a:ext>
            </a:extLst>
          </p:cNvPr>
          <p:cNvSpPr txBox="1">
            <a:spLocks/>
          </p:cNvSpPr>
          <p:nvPr/>
        </p:nvSpPr>
        <p:spPr>
          <a:xfrm flipH="1">
            <a:off x="3039642" y="1775287"/>
            <a:ext cx="5871779" cy="246221"/>
          </a:xfrm>
          <a:prstGeom prst="rect">
            <a:avLst/>
          </a:prstGeom>
          <a:noFill/>
        </p:spPr>
        <p:txBody>
          <a:bodyPr wrap="square" lIns="0" tIns="0" rIns="0" bIns="0" rtlCol="0">
            <a:spAutoFit/>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kumimoji="0" lang="de-DE" sz="1600" i="0" u="none" strike="noStrike" kern="1200" cap="none" spc="0" normalizeH="0" baseline="0" noProof="0" dirty="0">
                <a:ln>
                  <a:noFill/>
                </a:ln>
                <a:solidFill>
                  <a:srgbClr val="FEFFFF"/>
                </a:solidFill>
                <a:effectLst/>
                <a:uLnTx/>
                <a:uFillTx/>
                <a:ea typeface="Roboto" charset="0"/>
                <a:cs typeface="Roboto" charset="0"/>
              </a:rPr>
              <a:t>Der Customer </a:t>
            </a:r>
            <a:r>
              <a:rPr kumimoji="0" lang="de-DE" sz="1600" i="0" u="none" strike="noStrike" kern="1200" cap="none" spc="0" normalizeH="0" baseline="0" noProof="0" dirty="0" err="1">
                <a:ln>
                  <a:noFill/>
                </a:ln>
                <a:solidFill>
                  <a:srgbClr val="FEFFFF"/>
                </a:solidFill>
                <a:effectLst/>
                <a:uLnTx/>
                <a:uFillTx/>
                <a:ea typeface="Roboto" charset="0"/>
                <a:cs typeface="Roboto" charset="0"/>
              </a:rPr>
              <a:t>Centricity</a:t>
            </a:r>
            <a:r>
              <a:rPr kumimoji="0" lang="de-DE" sz="1600" i="0" u="none" strike="noStrike" kern="1200" cap="none" spc="0" normalizeH="0" baseline="0" noProof="0" dirty="0">
                <a:ln>
                  <a:noFill/>
                </a:ln>
                <a:solidFill>
                  <a:srgbClr val="FEFFFF"/>
                </a:solidFill>
                <a:effectLst/>
                <a:uLnTx/>
                <a:uFillTx/>
                <a:ea typeface="Roboto" charset="0"/>
                <a:cs typeface="Roboto" charset="0"/>
              </a:rPr>
              <a:t> Kreislauf</a:t>
            </a:r>
          </a:p>
        </p:txBody>
      </p:sp>
      <p:sp>
        <p:nvSpPr>
          <p:cNvPr id="54" name="Textfeld 53">
            <a:extLst>
              <a:ext uri="{FF2B5EF4-FFF2-40B4-BE49-F238E27FC236}">
                <a16:creationId xmlns:a16="http://schemas.microsoft.com/office/drawing/2014/main" id="{BC67F82D-2C52-EDD2-90E6-B763661AFD85}"/>
              </a:ext>
            </a:extLst>
          </p:cNvPr>
          <p:cNvSpPr txBox="1"/>
          <p:nvPr/>
        </p:nvSpPr>
        <p:spPr>
          <a:xfrm>
            <a:off x="3136881" y="5324968"/>
            <a:ext cx="800028"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DFAFF"/>
                </a:solidFill>
                <a:effectLst/>
                <a:uLnTx/>
                <a:uFillTx/>
                <a:ea typeface="+mn-ea"/>
                <a:cs typeface="Arial" pitchFamily="34" charset="0"/>
              </a:rPr>
              <a:t>&amp; </a:t>
            </a:r>
            <a:r>
              <a:rPr kumimoji="0" lang="de-DE" sz="1100" b="1" i="0" u="none" strike="noStrike" kern="1200" cap="none" spc="0" normalizeH="0" baseline="0" noProof="0" dirty="0" err="1">
                <a:ln>
                  <a:noFill/>
                </a:ln>
                <a:solidFill>
                  <a:srgbClr val="2DFAFF"/>
                </a:solidFill>
                <a:effectLst/>
                <a:uLnTx/>
                <a:uFillTx/>
                <a:ea typeface="+mn-ea"/>
                <a:cs typeface="Arial" pitchFamily="34" charset="0"/>
              </a:rPr>
              <a:t>Loyalty</a:t>
            </a:r>
            <a:endParaRPr kumimoji="0" lang="de-DE" sz="1100" b="1" i="0" u="none" strike="noStrike" kern="1200" cap="none" spc="0" normalizeH="0" baseline="0" noProof="0" dirty="0">
              <a:ln>
                <a:noFill/>
              </a:ln>
              <a:solidFill>
                <a:srgbClr val="2DFAFF"/>
              </a:solidFill>
              <a:effectLst/>
              <a:uLnTx/>
              <a:uFillTx/>
              <a:ea typeface="+mn-ea"/>
              <a:cs typeface="Arial" pitchFamily="34" charset="0"/>
            </a:endParaRPr>
          </a:p>
        </p:txBody>
      </p:sp>
      <p:sp>
        <p:nvSpPr>
          <p:cNvPr id="55" name="Freihandform: Form 54">
            <a:extLst>
              <a:ext uri="{FF2B5EF4-FFF2-40B4-BE49-F238E27FC236}">
                <a16:creationId xmlns:a16="http://schemas.microsoft.com/office/drawing/2014/main" id="{06CFB0E5-489C-F681-C785-9195E725DEB6}"/>
              </a:ext>
            </a:extLst>
          </p:cNvPr>
          <p:cNvSpPr>
            <a:spLocks/>
          </p:cNvSpPr>
          <p:nvPr/>
        </p:nvSpPr>
        <p:spPr>
          <a:xfrm>
            <a:off x="302334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Freihandform: Form 55">
            <a:extLst>
              <a:ext uri="{FF2B5EF4-FFF2-40B4-BE49-F238E27FC236}">
                <a16:creationId xmlns:a16="http://schemas.microsoft.com/office/drawing/2014/main" id="{F56FEA89-7E58-8995-1CF0-6C8BDC12A6D1}"/>
              </a:ext>
            </a:extLst>
          </p:cNvPr>
          <p:cNvSpPr/>
          <p:nvPr/>
        </p:nvSpPr>
        <p:spPr>
          <a:xfrm flipH="1">
            <a:off x="6551406" y="2202180"/>
            <a:ext cx="2371613"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Freihandform: Form 56">
            <a:extLst>
              <a:ext uri="{FF2B5EF4-FFF2-40B4-BE49-F238E27FC236}">
                <a16:creationId xmlns:a16="http://schemas.microsoft.com/office/drawing/2014/main" id="{B49A3DE0-95D2-1F24-B1DE-07180498D6CD}"/>
              </a:ext>
            </a:extLst>
          </p:cNvPr>
          <p:cNvSpPr/>
          <p:nvPr/>
        </p:nvSpPr>
        <p:spPr>
          <a:xfrm flipH="1" flipV="1">
            <a:off x="6385559" y="5210488"/>
            <a:ext cx="2537459"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Freihandform: Form 58">
            <a:extLst>
              <a:ext uri="{FF2B5EF4-FFF2-40B4-BE49-F238E27FC236}">
                <a16:creationId xmlns:a16="http://schemas.microsoft.com/office/drawing/2014/main" id="{6FA744B4-7F3B-CE20-146E-9410E150F2E5}"/>
              </a:ext>
            </a:extLst>
          </p:cNvPr>
          <p:cNvSpPr>
            <a:spLocks/>
          </p:cNvSpPr>
          <p:nvPr/>
        </p:nvSpPr>
        <p:spPr>
          <a:xfrm flipV="1">
            <a:off x="3023347" y="5210488"/>
            <a:ext cx="939054" cy="533400"/>
          </a:xfrm>
          <a:custGeom>
            <a:avLst/>
            <a:gdLst>
              <a:gd name="connsiteX0" fmla="*/ 662940 w 662940"/>
              <a:gd name="connsiteY0" fmla="*/ 0 h 365760"/>
              <a:gd name="connsiteX1" fmla="*/ 0 w 662940"/>
              <a:gd name="connsiteY1" fmla="*/ 0 h 365760"/>
              <a:gd name="connsiteX2" fmla="*/ 0 w 662940"/>
              <a:gd name="connsiteY2" fmla="*/ 365760 h 365760"/>
            </a:gdLst>
            <a:ahLst/>
            <a:cxnLst>
              <a:cxn ang="0">
                <a:pos x="connsiteX0" y="connsiteY0"/>
              </a:cxn>
              <a:cxn ang="0">
                <a:pos x="connsiteX1" y="connsiteY1"/>
              </a:cxn>
              <a:cxn ang="0">
                <a:pos x="connsiteX2" y="connsiteY2"/>
              </a:cxn>
            </a:cxnLst>
            <a:rect l="l" t="t" r="r" b="b"/>
            <a:pathLst>
              <a:path w="662940" h="365760">
                <a:moveTo>
                  <a:pt x="662940" y="0"/>
                </a:moveTo>
                <a:lnTo>
                  <a:pt x="0" y="0"/>
                </a:lnTo>
                <a:lnTo>
                  <a:pt x="0" y="365760"/>
                </a:lnTo>
              </a:path>
            </a:pathLst>
          </a:custGeom>
          <a:noFill/>
          <a:ln>
            <a:solidFill>
              <a:schemeClr val="bg1"/>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1" name="Gerader Verbinder 60">
            <a:extLst>
              <a:ext uri="{FF2B5EF4-FFF2-40B4-BE49-F238E27FC236}">
                <a16:creationId xmlns:a16="http://schemas.microsoft.com/office/drawing/2014/main" id="{2573BF20-1306-0C2E-C254-0ADAB8042D78}"/>
              </a:ext>
            </a:extLst>
          </p:cNvPr>
          <p:cNvCxnSpPr>
            <a:cxnSpLocks/>
          </p:cNvCxnSpPr>
          <p:nvPr/>
        </p:nvCxnSpPr>
        <p:spPr>
          <a:xfrm>
            <a:off x="4937760" y="5743888"/>
            <a:ext cx="623045" cy="0"/>
          </a:xfrm>
          <a:prstGeom prst="line">
            <a:avLst/>
          </a:prstGeom>
          <a:noFill/>
          <a:ln>
            <a:solidFill>
              <a:schemeClr val="bg1"/>
            </a:solidFill>
            <a:tailEnd type="none"/>
          </a:ln>
        </p:spPr>
        <p:style>
          <a:lnRef idx="2">
            <a:schemeClr val="accent1">
              <a:shade val="15000"/>
            </a:schemeClr>
          </a:lnRef>
          <a:fillRef idx="1">
            <a:schemeClr val="accent1"/>
          </a:fillRef>
          <a:effectRef idx="0">
            <a:schemeClr val="accent1"/>
          </a:effectRef>
          <a:fontRef idx="minor">
            <a:schemeClr val="lt1"/>
          </a:fontRef>
        </p:style>
      </p:cxnSp>
      <p:grpSp>
        <p:nvGrpSpPr>
          <p:cNvPr id="66" name="Gruppieren 65">
            <a:extLst>
              <a:ext uri="{FF2B5EF4-FFF2-40B4-BE49-F238E27FC236}">
                <a16:creationId xmlns:a16="http://schemas.microsoft.com/office/drawing/2014/main" id="{9E6C187D-7107-13AC-CD2C-2BD8713637D8}"/>
              </a:ext>
            </a:extLst>
          </p:cNvPr>
          <p:cNvGrpSpPr/>
          <p:nvPr/>
        </p:nvGrpSpPr>
        <p:grpSpPr>
          <a:xfrm>
            <a:off x="7252911" y="4010423"/>
            <a:ext cx="439080" cy="180002"/>
            <a:chOff x="7252911" y="4248548"/>
            <a:chExt cx="439080" cy="180002"/>
          </a:xfrm>
        </p:grpSpPr>
        <p:sp>
          <p:nvSpPr>
            <p:cNvPr id="63" name="Freihandform: Form 62">
              <a:extLst>
                <a:ext uri="{FF2B5EF4-FFF2-40B4-BE49-F238E27FC236}">
                  <a16:creationId xmlns:a16="http://schemas.microsoft.com/office/drawing/2014/main" id="{0F8B8EA7-28CD-AB89-DD43-BF878EF1C135}"/>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Freihandform: Form 63">
              <a:extLst>
                <a:ext uri="{FF2B5EF4-FFF2-40B4-BE49-F238E27FC236}">
                  <a16:creationId xmlns:a16="http://schemas.microsoft.com/office/drawing/2014/main" id="{D48767E8-9D7F-05DE-C16C-D67DBD036833}"/>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9BFFB92B-3641-E1FA-C478-A6A92DDC4FFB}"/>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7" name="Gruppieren 66">
            <a:extLst>
              <a:ext uri="{FF2B5EF4-FFF2-40B4-BE49-F238E27FC236}">
                <a16:creationId xmlns:a16="http://schemas.microsoft.com/office/drawing/2014/main" id="{B3F9413C-66D8-B9CC-CBF5-DB99B0FE9476}"/>
              </a:ext>
            </a:extLst>
          </p:cNvPr>
          <p:cNvGrpSpPr/>
          <p:nvPr/>
        </p:nvGrpSpPr>
        <p:grpSpPr>
          <a:xfrm>
            <a:off x="4372551" y="4010423"/>
            <a:ext cx="439080" cy="180002"/>
            <a:chOff x="7252911" y="4248548"/>
            <a:chExt cx="439080" cy="180002"/>
          </a:xfrm>
        </p:grpSpPr>
        <p:sp>
          <p:nvSpPr>
            <p:cNvPr id="68" name="Freihandform: Form 67">
              <a:extLst>
                <a:ext uri="{FF2B5EF4-FFF2-40B4-BE49-F238E27FC236}">
                  <a16:creationId xmlns:a16="http://schemas.microsoft.com/office/drawing/2014/main" id="{A1428510-0A73-196A-1D14-592046645E88}"/>
                </a:ext>
              </a:extLst>
            </p:cNvPr>
            <p:cNvSpPr/>
            <p:nvPr/>
          </p:nvSpPr>
          <p:spPr>
            <a:xfrm rot="18900000" flipH="1">
              <a:off x="7252911" y="4248548"/>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Freihandform: Form 68">
              <a:extLst>
                <a:ext uri="{FF2B5EF4-FFF2-40B4-BE49-F238E27FC236}">
                  <a16:creationId xmlns:a16="http://schemas.microsoft.com/office/drawing/2014/main" id="{B94603FC-9149-7847-0817-B8D1963C1049}"/>
                </a:ext>
              </a:extLst>
            </p:cNvPr>
            <p:cNvSpPr/>
            <p:nvPr/>
          </p:nvSpPr>
          <p:spPr>
            <a:xfrm rot="18900000" flipH="1">
              <a:off x="7382451" y="4248549"/>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Freihandform: Form 69">
              <a:extLst>
                <a:ext uri="{FF2B5EF4-FFF2-40B4-BE49-F238E27FC236}">
                  <a16:creationId xmlns:a16="http://schemas.microsoft.com/office/drawing/2014/main" id="{C4141AB5-2E76-E726-A7D1-7E8FF6B4AB30}"/>
                </a:ext>
              </a:extLst>
            </p:cNvPr>
            <p:cNvSpPr/>
            <p:nvPr/>
          </p:nvSpPr>
          <p:spPr>
            <a:xfrm rot="18900000" flipH="1">
              <a:off x="7511991" y="4248550"/>
              <a:ext cx="180000" cy="180000"/>
            </a:xfrm>
            <a:custGeom>
              <a:avLst/>
              <a:gdLst>
                <a:gd name="connsiteX0" fmla="*/ 0 w 205740"/>
                <a:gd name="connsiteY0" fmla="*/ 0 h 205740"/>
                <a:gd name="connsiteX1" fmla="*/ 205740 w 205740"/>
                <a:gd name="connsiteY1" fmla="*/ 0 h 205740"/>
                <a:gd name="connsiteX2" fmla="*/ 205740 w 205740"/>
                <a:gd name="connsiteY2" fmla="*/ 205740 h 205740"/>
              </a:gdLst>
              <a:ahLst/>
              <a:cxnLst>
                <a:cxn ang="0">
                  <a:pos x="connsiteX0" y="connsiteY0"/>
                </a:cxn>
                <a:cxn ang="0">
                  <a:pos x="connsiteX1" y="connsiteY1"/>
                </a:cxn>
                <a:cxn ang="0">
                  <a:pos x="connsiteX2" y="connsiteY2"/>
                </a:cxn>
              </a:cxnLst>
              <a:rect l="l" t="t" r="r" b="b"/>
              <a:pathLst>
                <a:path w="205740" h="205740">
                  <a:moveTo>
                    <a:pt x="0" y="0"/>
                  </a:moveTo>
                  <a:lnTo>
                    <a:pt x="205740" y="0"/>
                  </a:lnTo>
                  <a:lnTo>
                    <a:pt x="205740" y="205740"/>
                  </a:lnTo>
                </a:path>
              </a:pathLst>
            </a:custGeom>
            <a:noFill/>
            <a:ln w="349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223943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7602E2-408F-D4A1-D364-1C7564FD21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think-cell data - do not delete" hidden="1">
                        <a:extLst>
                          <a:ext uri="{FF2B5EF4-FFF2-40B4-BE49-F238E27FC236}">
                            <a16:creationId xmlns:a16="http://schemas.microsoft.com/office/drawing/2014/main" id="{8E7602E2-408F-D4A1-D364-1C7564FD2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1DC2BE-0477-A051-EE0E-D34C103C43AE}"/>
              </a:ext>
            </a:extLst>
          </p:cNvPr>
          <p:cNvSpPr>
            <a:spLocks noGrp="1"/>
          </p:cNvSpPr>
          <p:nvPr>
            <p:ph type="title"/>
          </p:nvPr>
        </p:nvSpPr>
        <p:spPr>
          <a:xfrm>
            <a:off x="623889" y="2282524"/>
            <a:ext cx="5357812" cy="1107996"/>
          </a:xfrm>
        </p:spPr>
        <p:txBody>
          <a:bodyPr vert="horz"/>
          <a:lstStyle/>
          <a:p>
            <a:r>
              <a:rPr lang="de-DE" dirty="0"/>
              <a:t>Vielen Dank</a:t>
            </a:r>
          </a:p>
        </p:txBody>
      </p:sp>
    </p:spTree>
    <p:extLst>
      <p:ext uri="{BB962C8B-B14F-4D97-AF65-F5344CB8AC3E}">
        <p14:creationId xmlns:p14="http://schemas.microsoft.com/office/powerpoint/2010/main" val="14367084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4180B4-2D37-48C4-4B8F-7AC5099C1BCB}"/>
              </a:ext>
            </a:extLst>
          </p:cNvPr>
          <p:cNvGraphicFramePr>
            <a:graphicFrameLocks noChangeAspect="1"/>
          </p:cNvGraphicFramePr>
          <p:nvPr>
            <p:custDataLst>
              <p:tags r:id="rId1"/>
            </p:custDataLst>
            <p:extLst>
              <p:ext uri="{D42A27DB-BD31-4B8C-83A1-F6EECF244321}">
                <p14:modId xmlns:p14="http://schemas.microsoft.com/office/powerpoint/2010/main" val="1705450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6E4180B4-2D37-48C4-4B8F-7AC5099C1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A6E602-365B-8DC5-CF98-4E9146C737D4}"/>
              </a:ext>
            </a:extLst>
          </p:cNvPr>
          <p:cNvSpPr>
            <a:spLocks noGrp="1"/>
          </p:cNvSpPr>
          <p:nvPr>
            <p:ph type="title"/>
          </p:nvPr>
        </p:nvSpPr>
        <p:spPr>
          <a:xfrm>
            <a:off x="623888" y="620713"/>
            <a:ext cx="9488833" cy="738664"/>
          </a:xfrm>
        </p:spPr>
        <p:txBody>
          <a:bodyPr vert="horz"/>
          <a:lstStyle/>
          <a:p>
            <a:r>
              <a:rPr lang="de-DE" b="1" dirty="0" err="1"/>
              <a:t>We</a:t>
            </a:r>
            <a:r>
              <a:rPr lang="de-DE" b="1" dirty="0"/>
              <a:t> </a:t>
            </a:r>
            <a:r>
              <a:rPr lang="de-DE" b="1" dirty="0" err="1"/>
              <a:t>create</a:t>
            </a:r>
            <a:r>
              <a:rPr lang="de-DE" b="1" dirty="0"/>
              <a:t> </a:t>
            </a:r>
            <a:r>
              <a:rPr lang="de-DE" b="1" dirty="0" err="1"/>
              <a:t>ecosystems</a:t>
            </a:r>
            <a:r>
              <a:rPr lang="de-DE" b="1" dirty="0"/>
              <a:t> </a:t>
            </a:r>
            <a:r>
              <a:rPr lang="de-DE" b="1" dirty="0" err="1"/>
              <a:t>for</a:t>
            </a:r>
            <a:r>
              <a:rPr lang="de-DE" b="1" dirty="0"/>
              <a:t> a </a:t>
            </a:r>
            <a:r>
              <a:rPr lang="de-DE" b="1" dirty="0" err="1"/>
              <a:t>better</a:t>
            </a:r>
            <a:r>
              <a:rPr lang="de-DE" b="1" dirty="0"/>
              <a:t> </a:t>
            </a:r>
            <a:r>
              <a:rPr lang="de-DE" b="1" dirty="0" err="1"/>
              <a:t>life</a:t>
            </a:r>
            <a:r>
              <a:rPr lang="de-DE" b="1" dirty="0"/>
              <a:t>.</a:t>
            </a:r>
            <a:br>
              <a:rPr lang="de-DE" b="1" dirty="0"/>
            </a:br>
            <a:r>
              <a:rPr lang="de-DE" dirty="0" err="1"/>
              <a:t>Based</a:t>
            </a:r>
            <a:r>
              <a:rPr lang="de-DE" dirty="0"/>
              <a:t> on </a:t>
            </a:r>
            <a:r>
              <a:rPr lang="de-DE" dirty="0" err="1"/>
              <a:t>our</a:t>
            </a:r>
            <a:r>
              <a:rPr lang="de-DE" dirty="0"/>
              <a:t> </a:t>
            </a:r>
            <a:r>
              <a:rPr lang="de-DE" dirty="0" err="1"/>
              <a:t>expertise</a:t>
            </a:r>
            <a:r>
              <a:rPr lang="de-DE" dirty="0"/>
              <a:t> in </a:t>
            </a:r>
            <a:r>
              <a:rPr lang="de-DE" dirty="0" err="1"/>
              <a:t>industries</a:t>
            </a:r>
            <a:r>
              <a:rPr lang="de-DE" dirty="0"/>
              <a:t>.</a:t>
            </a:r>
          </a:p>
        </p:txBody>
      </p:sp>
      <p:sp>
        <p:nvSpPr>
          <p:cNvPr id="3" name="Fußzeilenplatzhalter 2">
            <a:extLst>
              <a:ext uri="{FF2B5EF4-FFF2-40B4-BE49-F238E27FC236}">
                <a16:creationId xmlns:a16="http://schemas.microsoft.com/office/drawing/2014/main" id="{5FDDA3F3-8E7A-AE9E-DD42-FD3CB65CADC6}"/>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7FA6582C-8E6F-36AA-07E2-ABF090249C18}"/>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0</a:t>
            </a:fld>
            <a:endParaRPr lang="de-DE" dirty="0"/>
          </a:p>
        </p:txBody>
      </p:sp>
      <p:sp>
        <p:nvSpPr>
          <p:cNvPr id="5" name="Textplatzhalter 4">
            <a:extLst>
              <a:ext uri="{FF2B5EF4-FFF2-40B4-BE49-F238E27FC236}">
                <a16:creationId xmlns:a16="http://schemas.microsoft.com/office/drawing/2014/main" id="{41AC3521-2035-BE4F-2D0C-C91D577D9691}"/>
              </a:ext>
            </a:extLst>
          </p:cNvPr>
          <p:cNvSpPr>
            <a:spLocks noGrp="1"/>
          </p:cNvSpPr>
          <p:nvPr>
            <p:ph type="body" sz="quarter" idx="12"/>
          </p:nvPr>
        </p:nvSpPr>
        <p:spPr>
          <a:xfrm>
            <a:off x="623888" y="296863"/>
            <a:ext cx="1150490" cy="241980"/>
          </a:xfrm>
        </p:spPr>
        <p:txBody>
          <a:bodyPr/>
          <a:lstStyle/>
          <a:p>
            <a:r>
              <a:rPr lang="de-DE" dirty="0"/>
              <a:t>Unsere Branchen</a:t>
            </a:r>
          </a:p>
        </p:txBody>
      </p:sp>
      <p:grpSp>
        <p:nvGrpSpPr>
          <p:cNvPr id="44" name="Gruppieren 43">
            <a:extLst>
              <a:ext uri="{FF2B5EF4-FFF2-40B4-BE49-F238E27FC236}">
                <a16:creationId xmlns:a16="http://schemas.microsoft.com/office/drawing/2014/main" id="{076CD401-EB31-D925-06FE-A2BDACB4FFA5}"/>
              </a:ext>
            </a:extLst>
          </p:cNvPr>
          <p:cNvGrpSpPr/>
          <p:nvPr/>
        </p:nvGrpSpPr>
        <p:grpSpPr>
          <a:xfrm>
            <a:off x="623888" y="1769958"/>
            <a:ext cx="3504384" cy="1652985"/>
            <a:chOff x="623888" y="1769958"/>
            <a:chExt cx="3504384" cy="1652985"/>
          </a:xfrm>
        </p:grpSpPr>
        <p:sp>
          <p:nvSpPr>
            <p:cNvPr id="14" name="Rechteck 13">
              <a:extLst>
                <a:ext uri="{FF2B5EF4-FFF2-40B4-BE49-F238E27FC236}">
                  <a16:creationId xmlns:a16="http://schemas.microsoft.com/office/drawing/2014/main" id="{616CA4EA-984F-8B81-D9C9-F77AB5C02F01}"/>
                </a:ext>
              </a:extLst>
            </p:cNvPr>
            <p:cNvSpPr>
              <a:spLocks/>
            </p:cNvSpPr>
            <p:nvPr/>
          </p:nvSpPr>
          <p:spPr>
            <a:xfrm>
              <a:off x="623889"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Automotive.</a:t>
              </a:r>
              <a:endParaRPr lang="de-DE" sz="1800" b="1" dirty="0">
                <a:solidFill>
                  <a:schemeClr val="bg1"/>
                </a:solidFill>
                <a:ea typeface="Akkurat LL Light" panose="020B0404020101010102" pitchFamily="34" charset="-126"/>
                <a:cs typeface="Akkurat LL Light" panose="020B0404020101010102" pitchFamily="34" charset="-126"/>
              </a:endParaRPr>
            </a:p>
          </p:txBody>
        </p:sp>
        <p:sp>
          <p:nvSpPr>
            <p:cNvPr id="16" name="Textfeld 15">
              <a:extLst>
                <a:ext uri="{FF2B5EF4-FFF2-40B4-BE49-F238E27FC236}">
                  <a16:creationId xmlns:a16="http://schemas.microsoft.com/office/drawing/2014/main" id="{C66463C2-0E72-58AA-BC23-A281AC5E0855}"/>
                </a:ext>
              </a:extLst>
            </p:cNvPr>
            <p:cNvSpPr txBox="1">
              <a:spLocks/>
            </p:cNvSpPr>
            <p:nvPr/>
          </p:nvSpPr>
          <p:spPr>
            <a:xfrm>
              <a:off x="2118167"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pic>
          <p:nvPicPr>
            <p:cNvPr id="33" name="Grafik 32">
              <a:extLst>
                <a:ext uri="{FF2B5EF4-FFF2-40B4-BE49-F238E27FC236}">
                  <a16:creationId xmlns:a16="http://schemas.microsoft.com/office/drawing/2014/main" id="{7F836FE2-B2BD-DFC6-02A5-92089812F3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3888" y="1769959"/>
              <a:ext cx="952500" cy="952500"/>
            </a:xfrm>
            <a:prstGeom prst="rect">
              <a:avLst/>
            </a:prstGeom>
          </p:spPr>
        </p:pic>
      </p:grpSp>
      <p:grpSp>
        <p:nvGrpSpPr>
          <p:cNvPr id="45" name="Gruppieren 44">
            <a:extLst>
              <a:ext uri="{FF2B5EF4-FFF2-40B4-BE49-F238E27FC236}">
                <a16:creationId xmlns:a16="http://schemas.microsoft.com/office/drawing/2014/main" id="{35F79CFC-946B-0D9F-F953-EC8D8E8F42C8}"/>
              </a:ext>
            </a:extLst>
          </p:cNvPr>
          <p:cNvGrpSpPr/>
          <p:nvPr/>
        </p:nvGrpSpPr>
        <p:grpSpPr>
          <a:xfrm>
            <a:off x="4488273" y="1769958"/>
            <a:ext cx="3504383" cy="1652985"/>
            <a:chOff x="4488273" y="1769958"/>
            <a:chExt cx="3504383" cy="1652985"/>
          </a:xfrm>
        </p:grpSpPr>
        <p:sp>
          <p:nvSpPr>
            <p:cNvPr id="17" name="Rechteck 16">
              <a:extLst>
                <a:ext uri="{FF2B5EF4-FFF2-40B4-BE49-F238E27FC236}">
                  <a16:creationId xmlns:a16="http://schemas.microsoft.com/office/drawing/2014/main" id="{024C19E4-05C5-786E-42F9-1FF963B1B773}"/>
                </a:ext>
              </a:extLst>
            </p:cNvPr>
            <p:cNvSpPr>
              <a:spLocks/>
            </p:cNvSpPr>
            <p:nvPr/>
          </p:nvSpPr>
          <p:spPr>
            <a:xfrm>
              <a:off x="4488273"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Banking.</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2" name="Grafik 31">
              <a:extLst>
                <a:ext uri="{FF2B5EF4-FFF2-40B4-BE49-F238E27FC236}">
                  <a16:creationId xmlns:a16="http://schemas.microsoft.com/office/drawing/2014/main" id="{58DA862E-8A3F-1F07-A38B-C9CAE791CC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8273" y="1769959"/>
              <a:ext cx="952500" cy="952500"/>
            </a:xfrm>
            <a:prstGeom prst="rect">
              <a:avLst/>
            </a:prstGeom>
          </p:spPr>
        </p:pic>
        <p:sp>
          <p:nvSpPr>
            <p:cNvPr id="39" name="Textfeld 38">
              <a:extLst>
                <a:ext uri="{FF2B5EF4-FFF2-40B4-BE49-F238E27FC236}">
                  <a16:creationId xmlns:a16="http://schemas.microsoft.com/office/drawing/2014/main" id="{BF7C1C7D-44AE-C803-0022-6A5AAF3C69DA}"/>
                </a:ext>
              </a:extLst>
            </p:cNvPr>
            <p:cNvSpPr txBox="1">
              <a:spLocks/>
            </p:cNvSpPr>
            <p:nvPr/>
          </p:nvSpPr>
          <p:spPr>
            <a:xfrm>
              <a:off x="5982551"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6" name="Gruppieren 45">
            <a:extLst>
              <a:ext uri="{FF2B5EF4-FFF2-40B4-BE49-F238E27FC236}">
                <a16:creationId xmlns:a16="http://schemas.microsoft.com/office/drawing/2014/main" id="{EFFDD8F2-8FDC-1BD5-F6D1-746C7738F051}"/>
              </a:ext>
            </a:extLst>
          </p:cNvPr>
          <p:cNvGrpSpPr/>
          <p:nvPr/>
        </p:nvGrpSpPr>
        <p:grpSpPr>
          <a:xfrm>
            <a:off x="8352656" y="1769958"/>
            <a:ext cx="3504384" cy="1652985"/>
            <a:chOff x="8352656" y="1769958"/>
            <a:chExt cx="3504384" cy="1652985"/>
          </a:xfrm>
        </p:grpSpPr>
        <p:sp>
          <p:nvSpPr>
            <p:cNvPr id="20" name="Rechteck 19">
              <a:extLst>
                <a:ext uri="{FF2B5EF4-FFF2-40B4-BE49-F238E27FC236}">
                  <a16:creationId xmlns:a16="http://schemas.microsoft.com/office/drawing/2014/main" id="{E7D4C94D-0EA1-B926-A939-716D7F946AE5}"/>
                </a:ext>
              </a:extLst>
            </p:cNvPr>
            <p:cNvSpPr>
              <a:spLocks/>
            </p:cNvSpPr>
            <p:nvPr/>
          </p:nvSpPr>
          <p:spPr>
            <a:xfrm>
              <a:off x="8352656" y="176995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Healthcar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4" name="Grafik 33">
              <a:extLst>
                <a:ext uri="{FF2B5EF4-FFF2-40B4-BE49-F238E27FC236}">
                  <a16:creationId xmlns:a16="http://schemas.microsoft.com/office/drawing/2014/main" id="{DC53784F-C810-7C9C-5E2C-8D00105920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52656" y="1769959"/>
              <a:ext cx="952500" cy="952500"/>
            </a:xfrm>
            <a:prstGeom prst="rect">
              <a:avLst/>
            </a:prstGeom>
          </p:spPr>
        </p:pic>
        <p:sp>
          <p:nvSpPr>
            <p:cNvPr id="40" name="Textfeld 39">
              <a:extLst>
                <a:ext uri="{FF2B5EF4-FFF2-40B4-BE49-F238E27FC236}">
                  <a16:creationId xmlns:a16="http://schemas.microsoft.com/office/drawing/2014/main" id="{80586384-B763-4B64-C7C1-7858EA137C42}"/>
                </a:ext>
              </a:extLst>
            </p:cNvPr>
            <p:cNvSpPr txBox="1">
              <a:spLocks/>
            </p:cNvSpPr>
            <p:nvPr/>
          </p:nvSpPr>
          <p:spPr>
            <a:xfrm>
              <a:off x="9846935" y="1769959"/>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9" name="Gruppieren 48">
            <a:extLst>
              <a:ext uri="{FF2B5EF4-FFF2-40B4-BE49-F238E27FC236}">
                <a16:creationId xmlns:a16="http://schemas.microsoft.com/office/drawing/2014/main" id="{3E1BEAF9-CEFF-61B0-158D-C743799F2123}"/>
              </a:ext>
            </a:extLst>
          </p:cNvPr>
          <p:cNvGrpSpPr/>
          <p:nvPr/>
        </p:nvGrpSpPr>
        <p:grpSpPr>
          <a:xfrm>
            <a:off x="623889" y="3795414"/>
            <a:ext cx="3504383" cy="1657299"/>
            <a:chOff x="623889" y="3795414"/>
            <a:chExt cx="3504383" cy="1657299"/>
          </a:xfrm>
        </p:grpSpPr>
        <p:sp>
          <p:nvSpPr>
            <p:cNvPr id="23" name="Rechteck 22">
              <a:extLst>
                <a:ext uri="{FF2B5EF4-FFF2-40B4-BE49-F238E27FC236}">
                  <a16:creationId xmlns:a16="http://schemas.microsoft.com/office/drawing/2014/main" id="{CD6E7E54-42D9-CAA9-4518-2A27050B8BFB}"/>
                </a:ext>
              </a:extLst>
            </p:cNvPr>
            <p:cNvSpPr>
              <a:spLocks/>
            </p:cNvSpPr>
            <p:nvPr/>
          </p:nvSpPr>
          <p:spPr>
            <a:xfrm>
              <a:off x="623889"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dirty="0">
                  <a:solidFill>
                    <a:schemeClr val="bg1"/>
                  </a:solidFill>
                  <a:ea typeface="Akkurat LL" panose="020B0504020101010102" pitchFamily="34" charset="-126"/>
                  <a:cs typeface="Akkurat LL" panose="020B0504020101010102" pitchFamily="34" charset="-126"/>
                </a:rPr>
                <a:t>Industry.</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5" name="Grafik 34">
              <a:extLst>
                <a:ext uri="{FF2B5EF4-FFF2-40B4-BE49-F238E27FC236}">
                  <a16:creationId xmlns:a16="http://schemas.microsoft.com/office/drawing/2014/main" id="{33E0551C-A30B-3B1E-BBBA-6AAE6B8D6B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889" y="3799729"/>
              <a:ext cx="952500" cy="952500"/>
            </a:xfrm>
            <a:prstGeom prst="rect">
              <a:avLst/>
            </a:prstGeom>
          </p:spPr>
        </p:pic>
        <p:sp>
          <p:nvSpPr>
            <p:cNvPr id="41" name="Textfeld 40">
              <a:extLst>
                <a:ext uri="{FF2B5EF4-FFF2-40B4-BE49-F238E27FC236}">
                  <a16:creationId xmlns:a16="http://schemas.microsoft.com/office/drawing/2014/main" id="{0DE5511E-E2C0-B9CD-1F8A-D74C100057C6}"/>
                </a:ext>
              </a:extLst>
            </p:cNvPr>
            <p:cNvSpPr txBox="1">
              <a:spLocks/>
            </p:cNvSpPr>
            <p:nvPr/>
          </p:nvSpPr>
          <p:spPr>
            <a:xfrm>
              <a:off x="2118167"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8" name="Gruppieren 47">
            <a:extLst>
              <a:ext uri="{FF2B5EF4-FFF2-40B4-BE49-F238E27FC236}">
                <a16:creationId xmlns:a16="http://schemas.microsoft.com/office/drawing/2014/main" id="{4B91B363-89C0-40D4-E094-8B43CBF00B45}"/>
              </a:ext>
            </a:extLst>
          </p:cNvPr>
          <p:cNvGrpSpPr/>
          <p:nvPr/>
        </p:nvGrpSpPr>
        <p:grpSpPr>
          <a:xfrm>
            <a:off x="4488273" y="3795414"/>
            <a:ext cx="3504383" cy="1657299"/>
            <a:chOff x="4488273" y="3795414"/>
            <a:chExt cx="3504383" cy="1657299"/>
          </a:xfrm>
        </p:grpSpPr>
        <p:sp>
          <p:nvSpPr>
            <p:cNvPr id="26" name="Rechteck 25">
              <a:extLst>
                <a:ext uri="{FF2B5EF4-FFF2-40B4-BE49-F238E27FC236}">
                  <a16:creationId xmlns:a16="http://schemas.microsoft.com/office/drawing/2014/main" id="{D80DE887-EEEF-FC5A-E116-4C47446AC214}"/>
                </a:ext>
              </a:extLst>
            </p:cNvPr>
            <p:cNvSpPr>
              <a:spLocks/>
            </p:cNvSpPr>
            <p:nvPr/>
          </p:nvSpPr>
          <p:spPr>
            <a:xfrm>
              <a:off x="4488273"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Insurance.</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6" name="Grafik 35">
              <a:extLst>
                <a:ext uri="{FF2B5EF4-FFF2-40B4-BE49-F238E27FC236}">
                  <a16:creationId xmlns:a16="http://schemas.microsoft.com/office/drawing/2014/main" id="{C58C2216-6A79-6729-C863-9FD8C5CD42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8273" y="3799729"/>
              <a:ext cx="952500" cy="952500"/>
            </a:xfrm>
            <a:prstGeom prst="rect">
              <a:avLst/>
            </a:prstGeom>
          </p:spPr>
        </p:pic>
        <p:sp>
          <p:nvSpPr>
            <p:cNvPr id="42" name="Textfeld 41">
              <a:extLst>
                <a:ext uri="{FF2B5EF4-FFF2-40B4-BE49-F238E27FC236}">
                  <a16:creationId xmlns:a16="http://schemas.microsoft.com/office/drawing/2014/main" id="{9CBAC89F-64C7-4FB2-E0B1-43065D48C742}"/>
                </a:ext>
              </a:extLst>
            </p:cNvPr>
            <p:cNvSpPr txBox="1">
              <a:spLocks/>
            </p:cNvSpPr>
            <p:nvPr/>
          </p:nvSpPr>
          <p:spPr>
            <a:xfrm>
              <a:off x="5982551"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grpSp>
        <p:nvGrpSpPr>
          <p:cNvPr id="47" name="Gruppieren 46">
            <a:extLst>
              <a:ext uri="{FF2B5EF4-FFF2-40B4-BE49-F238E27FC236}">
                <a16:creationId xmlns:a16="http://schemas.microsoft.com/office/drawing/2014/main" id="{1F3E79C0-6BA6-CCF9-BB45-5F7714F5883D}"/>
              </a:ext>
            </a:extLst>
          </p:cNvPr>
          <p:cNvGrpSpPr/>
          <p:nvPr/>
        </p:nvGrpSpPr>
        <p:grpSpPr>
          <a:xfrm>
            <a:off x="8352656" y="3795414"/>
            <a:ext cx="3504384" cy="1657299"/>
            <a:chOff x="8352656" y="3795414"/>
            <a:chExt cx="3504384" cy="1657299"/>
          </a:xfrm>
        </p:grpSpPr>
        <p:sp>
          <p:nvSpPr>
            <p:cNvPr id="29" name="Rechteck 28">
              <a:extLst>
                <a:ext uri="{FF2B5EF4-FFF2-40B4-BE49-F238E27FC236}">
                  <a16:creationId xmlns:a16="http://schemas.microsoft.com/office/drawing/2014/main" id="{DC9D6C41-1B18-1B30-F95A-7F88FEA0BF34}"/>
                </a:ext>
              </a:extLst>
            </p:cNvPr>
            <p:cNvSpPr>
              <a:spLocks/>
            </p:cNvSpPr>
            <p:nvPr/>
          </p:nvSpPr>
          <p:spPr>
            <a:xfrm>
              <a:off x="8352656" y="3799728"/>
              <a:ext cx="3504383" cy="1652985"/>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b"/>
            <a:lstStyle/>
            <a:p>
              <a:r>
                <a:rPr lang="de-DE" sz="1800" b="1">
                  <a:solidFill>
                    <a:schemeClr val="bg1"/>
                  </a:solidFill>
                  <a:ea typeface="Akkurat LL" panose="020B0504020101010102" pitchFamily="34" charset="-126"/>
                  <a:cs typeface="Akkurat LL" panose="020B0504020101010102" pitchFamily="34" charset="-126"/>
                </a:rPr>
                <a:t>Public Sector.</a:t>
              </a:r>
              <a:endParaRPr lang="de-DE" sz="1800" b="1" dirty="0">
                <a:solidFill>
                  <a:schemeClr val="bg1"/>
                </a:solidFill>
                <a:ea typeface="Akkurat LL Light" panose="020B0404020101010102" pitchFamily="34" charset="-126"/>
                <a:cs typeface="Akkurat LL Light" panose="020B0404020101010102" pitchFamily="34" charset="-126"/>
              </a:endParaRPr>
            </a:p>
          </p:txBody>
        </p:sp>
        <p:pic>
          <p:nvPicPr>
            <p:cNvPr id="37" name="Grafik 36">
              <a:extLst>
                <a:ext uri="{FF2B5EF4-FFF2-40B4-BE49-F238E27FC236}">
                  <a16:creationId xmlns:a16="http://schemas.microsoft.com/office/drawing/2014/main" id="{059FC7BA-1F08-D053-CB1B-F88B8C14E6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52656" y="3799729"/>
              <a:ext cx="952500" cy="952500"/>
            </a:xfrm>
            <a:prstGeom prst="rect">
              <a:avLst/>
            </a:prstGeom>
          </p:spPr>
        </p:pic>
        <p:sp>
          <p:nvSpPr>
            <p:cNvPr id="43" name="Textfeld 42">
              <a:extLst>
                <a:ext uri="{FF2B5EF4-FFF2-40B4-BE49-F238E27FC236}">
                  <a16:creationId xmlns:a16="http://schemas.microsoft.com/office/drawing/2014/main" id="{D29234CE-D26E-4EF0-EBDD-6A4072922D37}"/>
                </a:ext>
              </a:extLst>
            </p:cNvPr>
            <p:cNvSpPr txBox="1">
              <a:spLocks/>
            </p:cNvSpPr>
            <p:nvPr/>
          </p:nvSpPr>
          <p:spPr>
            <a:xfrm>
              <a:off x="9846935" y="3795414"/>
              <a:ext cx="2010105" cy="402775"/>
            </a:xfrm>
            <a:prstGeom prst="rect">
              <a:avLst/>
            </a:prstGeom>
            <a:noFill/>
          </p:spPr>
          <p:txBody>
            <a:bodyPr wrap="square" lIns="144000" tIns="108000" rIns="144000" bIns="108000" rtlCol="0">
              <a:spAutoFit/>
            </a:bodyPr>
            <a:lstStyle/>
            <a:p>
              <a:pPr algn="r"/>
              <a:r>
                <a:rPr lang="de-DE" sz="1200" dirty="0">
                  <a:solidFill>
                    <a:schemeClr val="bg1"/>
                  </a:solidFill>
                  <a:ea typeface="Akkurat LL" panose="020B0504020101010102" pitchFamily="34" charset="-126"/>
                  <a:cs typeface="Akkurat LL" panose="020B0504020101010102" pitchFamily="34" charset="-126"/>
                </a:rPr>
                <a:t>Branche</a:t>
              </a:r>
              <a:endParaRPr lang="de-DE" sz="1200" dirty="0">
                <a:solidFill>
                  <a:schemeClr val="bg1"/>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33346019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6114F1F-2377-F03E-96DE-90A679AA7B8D}"/>
              </a:ext>
            </a:extLst>
          </p:cNvPr>
          <p:cNvGraphicFramePr>
            <a:graphicFrameLocks noChangeAspect="1"/>
          </p:cNvGraphicFramePr>
          <p:nvPr>
            <p:custDataLst>
              <p:tags r:id="rId1"/>
            </p:custDataLst>
            <p:extLst>
              <p:ext uri="{D42A27DB-BD31-4B8C-83A1-F6EECF244321}">
                <p14:modId xmlns:p14="http://schemas.microsoft.com/office/powerpoint/2010/main" val="325341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think-cell data - do not delete" hidden="1">
                        <a:extLst>
                          <a:ext uri="{FF2B5EF4-FFF2-40B4-BE49-F238E27FC236}">
                            <a16:creationId xmlns:a16="http://schemas.microsoft.com/office/drawing/2014/main" id="{A6114F1F-2377-F03E-96DE-90A679AA7B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51B573-3507-9908-1797-AE1203278FD5}"/>
              </a:ext>
            </a:extLst>
          </p:cNvPr>
          <p:cNvSpPr>
            <a:spLocks noGrp="1"/>
          </p:cNvSpPr>
          <p:nvPr>
            <p:ph type="title"/>
          </p:nvPr>
        </p:nvSpPr>
        <p:spPr>
          <a:xfrm>
            <a:off x="623888" y="620713"/>
            <a:ext cx="9488833" cy="738664"/>
          </a:xfrm>
        </p:spPr>
        <p:txBody>
          <a:bodyPr vert="horz"/>
          <a:lstStyle/>
          <a:p>
            <a:r>
              <a:rPr lang="de-DE" dirty="0"/>
              <a:t>Wir befinden uns im </a:t>
            </a:r>
            <a:r>
              <a:rPr lang="de-DE" b="1" dirty="0"/>
              <a:t>6. Kondratieff-Zyklus</a:t>
            </a:r>
            <a:r>
              <a:rPr lang="de-DE" dirty="0"/>
              <a:t>, in welchem die</a:t>
            </a:r>
            <a:br>
              <a:rPr lang="de-DE" dirty="0"/>
            </a:br>
            <a:r>
              <a:rPr lang="de-DE" dirty="0"/>
              <a:t>Themen </a:t>
            </a:r>
            <a:r>
              <a:rPr lang="de-DE" b="1" dirty="0"/>
              <a:t>Nachhaltigkeit, Ökoeffizienz </a:t>
            </a:r>
            <a:r>
              <a:rPr lang="de-DE" dirty="0"/>
              <a:t>und </a:t>
            </a:r>
            <a:r>
              <a:rPr lang="de-DE" b="1" dirty="0"/>
              <a:t>künstliche Intelligenz</a:t>
            </a:r>
            <a:br>
              <a:rPr lang="de-DE" b="1" dirty="0"/>
            </a:br>
            <a:r>
              <a:rPr lang="de-DE" dirty="0"/>
              <a:t>eine </a:t>
            </a:r>
            <a:r>
              <a:rPr lang="de-DE" b="1" dirty="0"/>
              <a:t>übergeordnete Rolle </a:t>
            </a:r>
            <a:r>
              <a:rPr lang="de-DE" dirty="0"/>
              <a:t>einnehmen.</a:t>
            </a:r>
          </a:p>
        </p:txBody>
      </p:sp>
      <p:sp>
        <p:nvSpPr>
          <p:cNvPr id="3" name="Fußzeilenplatzhalter 2">
            <a:extLst>
              <a:ext uri="{FF2B5EF4-FFF2-40B4-BE49-F238E27FC236}">
                <a16:creationId xmlns:a16="http://schemas.microsoft.com/office/drawing/2014/main" id="{2D6E7982-BFD6-4BF8-79B4-2D9B2D8018F2}"/>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57E40C83-7470-F72E-5D7C-DA46FA5158F5}"/>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1</a:t>
            </a:fld>
            <a:endParaRPr lang="de-DE" dirty="0"/>
          </a:p>
        </p:txBody>
      </p:sp>
      <p:sp>
        <p:nvSpPr>
          <p:cNvPr id="5" name="Textplatzhalter 4">
            <a:extLst>
              <a:ext uri="{FF2B5EF4-FFF2-40B4-BE49-F238E27FC236}">
                <a16:creationId xmlns:a16="http://schemas.microsoft.com/office/drawing/2014/main" id="{BF145806-29CF-9E1F-F3CB-05AB6929A69D}"/>
              </a:ext>
            </a:extLst>
          </p:cNvPr>
          <p:cNvSpPr>
            <a:spLocks noGrp="1"/>
          </p:cNvSpPr>
          <p:nvPr>
            <p:ph type="body" sz="quarter" idx="12"/>
          </p:nvPr>
        </p:nvSpPr>
        <p:spPr>
          <a:xfrm>
            <a:off x="623888" y="296523"/>
            <a:ext cx="1535210" cy="241980"/>
          </a:xfrm>
        </p:spPr>
        <p:txBody>
          <a:bodyPr/>
          <a:lstStyle/>
          <a:p>
            <a:r>
              <a:rPr lang="de-DE" dirty="0"/>
              <a:t>Wirtschaftsentwicklung</a:t>
            </a:r>
          </a:p>
        </p:txBody>
      </p:sp>
      <p:sp>
        <p:nvSpPr>
          <p:cNvPr id="16" name="Textfeld 15">
            <a:extLst>
              <a:ext uri="{FF2B5EF4-FFF2-40B4-BE49-F238E27FC236}">
                <a16:creationId xmlns:a16="http://schemas.microsoft.com/office/drawing/2014/main" id="{AF7D15EB-207F-CFAC-E258-A81CC5690AFC}"/>
              </a:ext>
            </a:extLst>
          </p:cNvPr>
          <p:cNvSpPr txBox="1">
            <a:spLocks/>
          </p:cNvSpPr>
          <p:nvPr/>
        </p:nvSpPr>
        <p:spPr>
          <a:xfrm>
            <a:off x="1127147"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845</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7" name="Textfeld 16">
            <a:extLst>
              <a:ext uri="{FF2B5EF4-FFF2-40B4-BE49-F238E27FC236}">
                <a16:creationId xmlns:a16="http://schemas.microsoft.com/office/drawing/2014/main" id="{127CAA66-4793-4337-95DF-8A1E7D268050}"/>
              </a:ext>
            </a:extLst>
          </p:cNvPr>
          <p:cNvSpPr txBox="1">
            <a:spLocks/>
          </p:cNvSpPr>
          <p:nvPr/>
        </p:nvSpPr>
        <p:spPr>
          <a:xfrm>
            <a:off x="3059338"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0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5787B0DB-B361-8FC8-F4C6-04A075459F11}"/>
              </a:ext>
            </a:extLst>
          </p:cNvPr>
          <p:cNvSpPr txBox="1">
            <a:spLocks/>
          </p:cNvSpPr>
          <p:nvPr/>
        </p:nvSpPr>
        <p:spPr>
          <a:xfrm>
            <a:off x="4991530"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5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AD3590E8-E1BB-3382-3C4A-4CE32AFAE745}"/>
              </a:ext>
            </a:extLst>
          </p:cNvPr>
          <p:cNvSpPr txBox="1">
            <a:spLocks/>
          </p:cNvSpPr>
          <p:nvPr/>
        </p:nvSpPr>
        <p:spPr>
          <a:xfrm>
            <a:off x="6923722"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199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A54E3B16-D47E-B866-DD42-D9FC42E57BA8}"/>
              </a:ext>
            </a:extLst>
          </p:cNvPr>
          <p:cNvSpPr txBox="1">
            <a:spLocks/>
          </p:cNvSpPr>
          <p:nvPr/>
        </p:nvSpPr>
        <p:spPr>
          <a:xfrm>
            <a:off x="8855913" y="5641268"/>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20</a:t>
            </a:r>
            <a:endParaRPr lang="de-DE" sz="14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8BFD7E4C-3624-4B43-E05E-0DA52412D104}"/>
              </a:ext>
            </a:extLst>
          </p:cNvPr>
          <p:cNvSpPr txBox="1">
            <a:spLocks/>
          </p:cNvSpPr>
          <p:nvPr/>
        </p:nvSpPr>
        <p:spPr>
          <a:xfrm>
            <a:off x="10788104" y="5641267"/>
            <a:ext cx="565675" cy="215444"/>
          </a:xfrm>
          <a:prstGeom prst="rect">
            <a:avLst/>
          </a:prstGeom>
          <a:noFill/>
        </p:spPr>
        <p:txBody>
          <a:bodyPr wrap="square" lIns="0" tIns="0" rIns="0" bIns="0" rtlCol="0">
            <a:spAutoFit/>
          </a:bodyPr>
          <a:lstStyle/>
          <a:p>
            <a:pPr algn="ctr"/>
            <a:r>
              <a:rPr lang="de-DE" sz="1400" b="1">
                <a:solidFill>
                  <a:schemeClr val="bg1"/>
                </a:solidFill>
                <a:ea typeface="Akkurat LL" panose="020B0504020101010102" pitchFamily="34" charset="-126"/>
                <a:cs typeface="Akkurat LL" panose="020B0504020101010102" pitchFamily="34" charset="-126"/>
              </a:rPr>
              <a:t>2040</a:t>
            </a:r>
            <a:endParaRPr lang="de-DE" sz="1400">
              <a:solidFill>
                <a:schemeClr val="bg1"/>
              </a:solidFill>
              <a:ea typeface="Akkurat LL Light" panose="020B0404020101010102" pitchFamily="34" charset="-126"/>
              <a:cs typeface="Akkurat LL Light" panose="020B0404020101010102" pitchFamily="34" charset="-126"/>
            </a:endParaRPr>
          </a:p>
        </p:txBody>
      </p:sp>
      <p:grpSp>
        <p:nvGrpSpPr>
          <p:cNvPr id="66" name="Gruppieren 65">
            <a:extLst>
              <a:ext uri="{FF2B5EF4-FFF2-40B4-BE49-F238E27FC236}">
                <a16:creationId xmlns:a16="http://schemas.microsoft.com/office/drawing/2014/main" id="{7616EB47-2746-A0C4-B6A7-0095E6F6722E}"/>
              </a:ext>
            </a:extLst>
          </p:cNvPr>
          <p:cNvGrpSpPr/>
          <p:nvPr/>
        </p:nvGrpSpPr>
        <p:grpSpPr>
          <a:xfrm>
            <a:off x="2556080" y="2292863"/>
            <a:ext cx="1572192" cy="3271489"/>
            <a:chOff x="2556080" y="2292863"/>
            <a:chExt cx="1572192" cy="3271489"/>
          </a:xfrm>
        </p:grpSpPr>
        <p:cxnSp>
          <p:nvCxnSpPr>
            <p:cNvPr id="56" name="Gerader Verbinder 55">
              <a:extLst>
                <a:ext uri="{FF2B5EF4-FFF2-40B4-BE49-F238E27FC236}">
                  <a16:creationId xmlns:a16="http://schemas.microsoft.com/office/drawing/2014/main" id="{18BD1AE9-8598-BC9A-B8DF-DF9EF0EBB6D0}"/>
                </a:ext>
              </a:extLst>
            </p:cNvPr>
            <p:cNvCxnSpPr>
              <a:cxnSpLocks/>
            </p:cNvCxnSpPr>
            <p:nvPr/>
          </p:nvCxnSpPr>
          <p:spPr>
            <a:xfrm>
              <a:off x="3342175"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56B09FCA-3D66-DC75-6685-A6E4E5D4C8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0785" y="4143311"/>
              <a:ext cx="702782" cy="512196"/>
            </a:xfrm>
            <a:prstGeom prst="rect">
              <a:avLst/>
            </a:prstGeom>
          </p:spPr>
        </p:pic>
        <p:sp>
          <p:nvSpPr>
            <p:cNvPr id="24" name="Rechteck 23">
              <a:extLst>
                <a:ext uri="{FF2B5EF4-FFF2-40B4-BE49-F238E27FC236}">
                  <a16:creationId xmlns:a16="http://schemas.microsoft.com/office/drawing/2014/main" id="{DB121292-3A9D-A546-E6D2-AA840156417A}"/>
                </a:ext>
              </a:extLst>
            </p:cNvPr>
            <p:cNvSpPr>
              <a:spLocks/>
            </p:cNvSpPr>
            <p:nvPr/>
          </p:nvSpPr>
          <p:spPr>
            <a:xfrm>
              <a:off x="2556080"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2</a:t>
              </a:r>
            </a:p>
            <a:p>
              <a:r>
                <a:rPr lang="de-DE" sz="1400" b="1" dirty="0">
                  <a:solidFill>
                    <a:schemeClr val="bg1"/>
                  </a:solidFill>
                  <a:ea typeface="Akkurat LL" panose="020B0504020101010102" pitchFamily="34" charset="-126"/>
                  <a:cs typeface="Akkurat LL" panose="020B0504020101010102" pitchFamily="34" charset="-126"/>
                </a:rPr>
                <a:t>Eisenbahn</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Stahl</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transport</a:t>
              </a:r>
            </a:p>
            <a:p>
              <a:endParaRPr lang="de-DE" sz="1400" b="1" dirty="0"/>
            </a:p>
          </p:txBody>
        </p:sp>
      </p:grpSp>
      <p:grpSp>
        <p:nvGrpSpPr>
          <p:cNvPr id="67" name="Gruppieren 66">
            <a:extLst>
              <a:ext uri="{FF2B5EF4-FFF2-40B4-BE49-F238E27FC236}">
                <a16:creationId xmlns:a16="http://schemas.microsoft.com/office/drawing/2014/main" id="{DD1066DE-68D0-34F7-4683-34F6A9231F5D}"/>
              </a:ext>
            </a:extLst>
          </p:cNvPr>
          <p:cNvGrpSpPr/>
          <p:nvPr/>
        </p:nvGrpSpPr>
        <p:grpSpPr>
          <a:xfrm>
            <a:off x="623888" y="2292863"/>
            <a:ext cx="1572192" cy="3271489"/>
            <a:chOff x="623888" y="2292863"/>
            <a:chExt cx="1572192" cy="3271489"/>
          </a:xfrm>
        </p:grpSpPr>
        <p:cxnSp>
          <p:nvCxnSpPr>
            <p:cNvPr id="55" name="Gerader Verbinder 54">
              <a:extLst>
                <a:ext uri="{FF2B5EF4-FFF2-40B4-BE49-F238E27FC236}">
                  <a16:creationId xmlns:a16="http://schemas.microsoft.com/office/drawing/2014/main" id="{68BAFB62-BFD3-2474-5B5B-D5D8CFEEB0CD}"/>
                </a:ext>
              </a:extLst>
            </p:cNvPr>
            <p:cNvCxnSpPr>
              <a:cxnSpLocks/>
            </p:cNvCxnSpPr>
            <p:nvPr/>
          </p:nvCxnSpPr>
          <p:spPr>
            <a:xfrm>
              <a:off x="1409984"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45B17532-7FD4-8DE1-A8C2-C8488DA17758}"/>
                </a:ext>
              </a:extLst>
            </p:cNvPr>
            <p:cNvSpPr>
              <a:spLocks/>
            </p:cNvSpPr>
            <p:nvPr/>
          </p:nvSpPr>
          <p:spPr>
            <a:xfrm>
              <a:off x="623888"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1</a:t>
              </a:r>
            </a:p>
            <a:p>
              <a:r>
                <a:rPr lang="de-DE" sz="1400" b="1" dirty="0">
                  <a:solidFill>
                    <a:srgbClr val="FFFFFF"/>
                  </a:solidFill>
                  <a:ea typeface="Akkurat LL" panose="020B0504020101010102" pitchFamily="34" charset="-126"/>
                  <a:cs typeface="Akkurat LL" panose="020B0504020101010102" pitchFamily="34" charset="-126"/>
                </a:rPr>
                <a:t>Dampfmaschine</a:t>
              </a:r>
              <a:br>
                <a:rPr lang="de-DE" sz="1400" b="1" dirty="0">
                  <a:solidFill>
                    <a:srgbClr val="FFFFFF"/>
                  </a:solidFill>
                  <a:ea typeface="Akkurat LL" panose="020B0504020101010102" pitchFamily="34" charset="-126"/>
                  <a:cs typeface="Akkurat LL" panose="020B0504020101010102" pitchFamily="34" charset="-126"/>
                </a:rPr>
              </a:br>
              <a:r>
                <a:rPr lang="de-DE" sz="1400" b="1" dirty="0">
                  <a:solidFill>
                    <a:srgbClr val="FFFFFF"/>
                  </a:solidFill>
                  <a:ea typeface="Akkurat LL" panose="020B0504020101010102" pitchFamily="34" charset="-126"/>
                  <a:cs typeface="Akkurat LL" panose="020B0504020101010102" pitchFamily="34" charset="-126"/>
                </a:rPr>
                <a:t>Textilindustr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Bekleidung</a:t>
              </a:r>
            </a:p>
            <a:p>
              <a:endParaRPr lang="de-DE" sz="1400" b="1" dirty="0"/>
            </a:p>
          </p:txBody>
        </p:sp>
        <p:pic>
          <p:nvPicPr>
            <p:cNvPr id="35" name="Grafik 34">
              <a:extLst>
                <a:ext uri="{FF2B5EF4-FFF2-40B4-BE49-F238E27FC236}">
                  <a16:creationId xmlns:a16="http://schemas.microsoft.com/office/drawing/2014/main" id="{F78DA247-4F31-20D8-03CA-AD20040F8A8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6396" y="4165821"/>
              <a:ext cx="467176" cy="467176"/>
            </a:xfrm>
            <a:prstGeom prst="rect">
              <a:avLst/>
            </a:prstGeom>
          </p:spPr>
        </p:pic>
      </p:grpSp>
      <p:grpSp>
        <p:nvGrpSpPr>
          <p:cNvPr id="65" name="Gruppieren 64">
            <a:extLst>
              <a:ext uri="{FF2B5EF4-FFF2-40B4-BE49-F238E27FC236}">
                <a16:creationId xmlns:a16="http://schemas.microsoft.com/office/drawing/2014/main" id="{FACF0A0C-0337-7049-052A-3C9495469DA5}"/>
              </a:ext>
            </a:extLst>
          </p:cNvPr>
          <p:cNvGrpSpPr/>
          <p:nvPr/>
        </p:nvGrpSpPr>
        <p:grpSpPr>
          <a:xfrm>
            <a:off x="4488271" y="2292863"/>
            <a:ext cx="1572192" cy="3271489"/>
            <a:chOff x="4488271" y="2292863"/>
            <a:chExt cx="1572192" cy="3271489"/>
          </a:xfrm>
        </p:grpSpPr>
        <p:cxnSp>
          <p:nvCxnSpPr>
            <p:cNvPr id="57" name="Gerader Verbinder 56">
              <a:extLst>
                <a:ext uri="{FF2B5EF4-FFF2-40B4-BE49-F238E27FC236}">
                  <a16:creationId xmlns:a16="http://schemas.microsoft.com/office/drawing/2014/main" id="{132997FB-A4CB-450F-31D8-5ACF0E195043}"/>
                </a:ext>
              </a:extLst>
            </p:cNvPr>
            <p:cNvCxnSpPr>
              <a:cxnSpLocks/>
            </p:cNvCxnSpPr>
            <p:nvPr/>
          </p:nvCxnSpPr>
          <p:spPr>
            <a:xfrm>
              <a:off x="5274367"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6E99A771-70E8-D238-5CC5-F40BE3C3A4F1}"/>
                </a:ext>
              </a:extLst>
            </p:cNvPr>
            <p:cNvSpPr>
              <a:spLocks/>
            </p:cNvSpPr>
            <p:nvPr/>
          </p:nvSpPr>
          <p:spPr>
            <a:xfrm>
              <a:off x="4488271"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3</a:t>
              </a:r>
            </a:p>
            <a:p>
              <a:r>
                <a:rPr lang="de-DE" sz="1400" b="1" dirty="0">
                  <a:solidFill>
                    <a:schemeClr val="bg1"/>
                  </a:solidFill>
                  <a:ea typeface="Akkurat LL" panose="020B0504020101010102" pitchFamily="34" charset="-126"/>
                  <a:cs typeface="Akkurat LL" panose="020B0504020101010102" pitchFamily="34" charset="-126"/>
                </a:rPr>
                <a:t>Elektrotechnik</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Massenkonsum</a:t>
              </a:r>
            </a:p>
            <a:p>
              <a:endParaRPr lang="de-DE" sz="1400" b="1" dirty="0"/>
            </a:p>
          </p:txBody>
        </p:sp>
        <p:pic>
          <p:nvPicPr>
            <p:cNvPr id="36" name="Grafik 35">
              <a:extLst>
                <a:ext uri="{FF2B5EF4-FFF2-40B4-BE49-F238E27FC236}">
                  <a16:creationId xmlns:a16="http://schemas.microsoft.com/office/drawing/2014/main" id="{FC65E110-AA18-46B9-CC66-13F67C9F19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58806" y="4133347"/>
              <a:ext cx="631124" cy="532124"/>
            </a:xfrm>
            <a:prstGeom prst="rect">
              <a:avLst/>
            </a:prstGeom>
          </p:spPr>
        </p:pic>
      </p:grpSp>
      <p:grpSp>
        <p:nvGrpSpPr>
          <p:cNvPr id="64" name="Gruppieren 63">
            <a:extLst>
              <a:ext uri="{FF2B5EF4-FFF2-40B4-BE49-F238E27FC236}">
                <a16:creationId xmlns:a16="http://schemas.microsoft.com/office/drawing/2014/main" id="{C83576BA-C2D5-653F-D974-A3BD830F1C29}"/>
              </a:ext>
            </a:extLst>
          </p:cNvPr>
          <p:cNvGrpSpPr/>
          <p:nvPr/>
        </p:nvGrpSpPr>
        <p:grpSpPr>
          <a:xfrm>
            <a:off x="6420463" y="2292863"/>
            <a:ext cx="1572192" cy="3271489"/>
            <a:chOff x="6420463" y="2292863"/>
            <a:chExt cx="1572192" cy="3271489"/>
          </a:xfrm>
        </p:grpSpPr>
        <p:cxnSp>
          <p:nvCxnSpPr>
            <p:cNvPr id="58" name="Gerader Verbinder 57">
              <a:extLst>
                <a:ext uri="{FF2B5EF4-FFF2-40B4-BE49-F238E27FC236}">
                  <a16:creationId xmlns:a16="http://schemas.microsoft.com/office/drawing/2014/main" id="{3A7E8D01-D215-7E4A-412E-F50CD0419D63}"/>
                </a:ext>
              </a:extLst>
            </p:cNvPr>
            <p:cNvCxnSpPr>
              <a:cxnSpLocks/>
            </p:cNvCxnSpPr>
            <p:nvPr/>
          </p:nvCxnSpPr>
          <p:spPr>
            <a:xfrm>
              <a:off x="7206559"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37A10BD7-69A4-04C9-9F52-BBDAEB4C21B6}"/>
                </a:ext>
              </a:extLst>
            </p:cNvPr>
            <p:cNvSpPr>
              <a:spLocks/>
            </p:cNvSpPr>
            <p:nvPr/>
          </p:nvSpPr>
          <p:spPr>
            <a:xfrm>
              <a:off x="6420463"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4</a:t>
              </a:r>
            </a:p>
            <a:p>
              <a:r>
                <a:rPr lang="de-DE" sz="1400" b="1" dirty="0">
                  <a:solidFill>
                    <a:schemeClr val="bg1"/>
                  </a:solidFill>
                  <a:ea typeface="Akkurat LL" panose="020B0504020101010102" pitchFamily="34" charset="-126"/>
                  <a:cs typeface="Akkurat LL" panose="020B0504020101010102" pitchFamily="34" charset="-126"/>
                </a:rPr>
                <a:t>Automobil</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Petrochemie</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dividuelle Mobilität</a:t>
              </a:r>
            </a:p>
            <a:p>
              <a:endParaRPr lang="de-DE" sz="1400" b="1" dirty="0"/>
            </a:p>
          </p:txBody>
        </p:sp>
        <p:pic>
          <p:nvPicPr>
            <p:cNvPr id="37" name="Grafik 36">
              <a:extLst>
                <a:ext uri="{FF2B5EF4-FFF2-40B4-BE49-F238E27FC236}">
                  <a16:creationId xmlns:a16="http://schemas.microsoft.com/office/drawing/2014/main" id="{2840FD81-4815-0CE0-0F1F-01B1059474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6081" y="4225768"/>
              <a:ext cx="660956" cy="347282"/>
            </a:xfrm>
            <a:prstGeom prst="rect">
              <a:avLst/>
            </a:prstGeom>
          </p:spPr>
        </p:pic>
      </p:grpSp>
      <p:grpSp>
        <p:nvGrpSpPr>
          <p:cNvPr id="63" name="Gruppieren 62">
            <a:extLst>
              <a:ext uri="{FF2B5EF4-FFF2-40B4-BE49-F238E27FC236}">
                <a16:creationId xmlns:a16="http://schemas.microsoft.com/office/drawing/2014/main" id="{04FA527D-67C1-DA1A-BECA-5DFB770AECC9}"/>
              </a:ext>
            </a:extLst>
          </p:cNvPr>
          <p:cNvGrpSpPr/>
          <p:nvPr/>
        </p:nvGrpSpPr>
        <p:grpSpPr>
          <a:xfrm>
            <a:off x="8352655" y="2292863"/>
            <a:ext cx="1572192" cy="3271489"/>
            <a:chOff x="8352655" y="2292863"/>
            <a:chExt cx="1572192" cy="3271489"/>
          </a:xfrm>
        </p:grpSpPr>
        <p:cxnSp>
          <p:nvCxnSpPr>
            <p:cNvPr id="59" name="Gerader Verbinder 58">
              <a:extLst>
                <a:ext uri="{FF2B5EF4-FFF2-40B4-BE49-F238E27FC236}">
                  <a16:creationId xmlns:a16="http://schemas.microsoft.com/office/drawing/2014/main" id="{DCDC68C8-DFBE-9482-E6CB-6B93C576AA69}"/>
                </a:ext>
              </a:extLst>
            </p:cNvPr>
            <p:cNvCxnSpPr>
              <a:cxnSpLocks/>
            </p:cNvCxnSpPr>
            <p:nvPr/>
          </p:nvCxnSpPr>
          <p:spPr>
            <a:xfrm>
              <a:off x="9138750" y="4902053"/>
              <a:ext cx="0" cy="662299"/>
            </a:xfrm>
            <a:prstGeom prst="lin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cxnSp>
        <p:sp>
          <p:nvSpPr>
            <p:cNvPr id="31" name="Rechteck 30">
              <a:extLst>
                <a:ext uri="{FF2B5EF4-FFF2-40B4-BE49-F238E27FC236}">
                  <a16:creationId xmlns:a16="http://schemas.microsoft.com/office/drawing/2014/main" id="{70C640FD-0074-CAA4-3B83-ACBC3D36173C}"/>
                </a:ext>
              </a:extLst>
            </p:cNvPr>
            <p:cNvSpPr>
              <a:spLocks/>
            </p:cNvSpPr>
            <p:nvPr/>
          </p:nvSpPr>
          <p:spPr>
            <a:xfrm>
              <a:off x="8352655" y="2292863"/>
              <a:ext cx="1572192" cy="2609190"/>
            </a:xfrm>
            <a:prstGeom prst="rect">
              <a:avLst/>
            </a:prstGeom>
            <a:solidFill>
              <a:schemeClr val="bg2"/>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solidFill>
                    <a:schemeClr val="bg1"/>
                  </a:solidFill>
                </a:rPr>
                <a:t>05</a:t>
              </a:r>
            </a:p>
            <a:p>
              <a:r>
                <a:rPr lang="de-DE" sz="1400" b="1" dirty="0">
                  <a:solidFill>
                    <a:schemeClr val="bg1"/>
                  </a:solidFill>
                  <a:ea typeface="Akkurat LL" panose="020B0504020101010102" pitchFamily="34" charset="-126"/>
                  <a:cs typeface="Akkurat LL" panose="020B0504020101010102" pitchFamily="34" charset="-126"/>
                </a:rPr>
                <a:t>Informations-technik</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Information Kommunikation</a:t>
              </a:r>
            </a:p>
            <a:p>
              <a:endParaRPr lang="de-DE" sz="1400" b="1" dirty="0"/>
            </a:p>
          </p:txBody>
        </p:sp>
        <p:pic>
          <p:nvPicPr>
            <p:cNvPr id="38" name="Grafik 37">
              <a:extLst>
                <a:ext uri="{FF2B5EF4-FFF2-40B4-BE49-F238E27FC236}">
                  <a16:creationId xmlns:a16="http://schemas.microsoft.com/office/drawing/2014/main" id="{57BC5833-433C-5389-5932-F58562708F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68141" y="4187841"/>
              <a:ext cx="541222" cy="423136"/>
            </a:xfrm>
            <a:prstGeom prst="rect">
              <a:avLst/>
            </a:prstGeom>
          </p:spPr>
        </p:pic>
      </p:grpSp>
      <p:grpSp>
        <p:nvGrpSpPr>
          <p:cNvPr id="62" name="Gruppieren 61">
            <a:extLst>
              <a:ext uri="{FF2B5EF4-FFF2-40B4-BE49-F238E27FC236}">
                <a16:creationId xmlns:a16="http://schemas.microsoft.com/office/drawing/2014/main" id="{57E88FC5-C5D4-41FF-1963-8C625B367C4A}"/>
              </a:ext>
            </a:extLst>
          </p:cNvPr>
          <p:cNvGrpSpPr/>
          <p:nvPr/>
        </p:nvGrpSpPr>
        <p:grpSpPr>
          <a:xfrm>
            <a:off x="10284846" y="2292863"/>
            <a:ext cx="1572192" cy="3271489"/>
            <a:chOff x="10284846" y="2292863"/>
            <a:chExt cx="1572192" cy="3271489"/>
          </a:xfrm>
        </p:grpSpPr>
        <p:cxnSp>
          <p:nvCxnSpPr>
            <p:cNvPr id="60" name="Gerader Verbinder 59">
              <a:extLst>
                <a:ext uri="{FF2B5EF4-FFF2-40B4-BE49-F238E27FC236}">
                  <a16:creationId xmlns:a16="http://schemas.microsoft.com/office/drawing/2014/main" id="{EDD0D181-F0B0-AAC0-94FD-0A89FA87798D}"/>
                </a:ext>
              </a:extLst>
            </p:cNvPr>
            <p:cNvCxnSpPr>
              <a:cxnSpLocks/>
            </p:cNvCxnSpPr>
            <p:nvPr/>
          </p:nvCxnSpPr>
          <p:spPr>
            <a:xfrm>
              <a:off x="11070942" y="4902053"/>
              <a:ext cx="0" cy="66229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3CA09651-A491-FFEA-6B4C-F2EB1B9561C9}"/>
                </a:ext>
              </a:extLst>
            </p:cNvPr>
            <p:cNvSpPr>
              <a:spLocks/>
            </p:cNvSpPr>
            <p:nvPr/>
          </p:nvSpPr>
          <p:spPr>
            <a:xfrm>
              <a:off x="10284846" y="2292863"/>
              <a:ext cx="1572192" cy="2609190"/>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44000" tIns="108000" rIns="144000" bIns="108000" rtlCol="0" anchor="t"/>
            <a:lstStyle/>
            <a:p>
              <a:r>
                <a:rPr lang="de-DE" sz="1400" b="1" dirty="0"/>
                <a:t>06</a:t>
              </a:r>
            </a:p>
            <a:p>
              <a:r>
                <a:rPr lang="de-DE" sz="1400" b="1" dirty="0">
                  <a:solidFill>
                    <a:schemeClr val="bg1"/>
                  </a:solidFill>
                  <a:ea typeface="Akkurat LL" panose="020B0504020101010102" pitchFamily="34" charset="-126"/>
                  <a:cs typeface="Akkurat LL" panose="020B0504020101010102" pitchFamily="34" charset="-126"/>
                </a:rPr>
                <a:t>Künstliche</a:t>
              </a:r>
              <a:br>
                <a:rPr lang="de-DE" sz="1400" b="1" dirty="0">
                  <a:solidFill>
                    <a:schemeClr val="bg1"/>
                  </a:solidFill>
                  <a:ea typeface="Akkurat LL" panose="020B0504020101010102" pitchFamily="34" charset="-126"/>
                  <a:cs typeface="Akkurat LL" panose="020B0504020101010102" pitchFamily="34" charset="-126"/>
                </a:rPr>
              </a:br>
              <a:r>
                <a:rPr lang="de-DE" sz="1400" b="1" dirty="0">
                  <a:solidFill>
                    <a:schemeClr val="bg1"/>
                  </a:solidFill>
                  <a:ea typeface="Akkurat LL" panose="020B0504020101010102" pitchFamily="34" charset="-126"/>
                  <a:cs typeface="Akkurat LL" panose="020B0504020101010102" pitchFamily="34" charset="-126"/>
                </a:rPr>
                <a:t>Intelligenz</a:t>
              </a:r>
              <a:br>
                <a:rPr lang="de-DE" sz="1400" dirty="0">
                  <a:solidFill>
                    <a:schemeClr val="bg1"/>
                  </a:solidFill>
                  <a:ea typeface="Akkurat LL" panose="020B0504020101010102" pitchFamily="34" charset="-126"/>
                  <a:cs typeface="Akkurat LL" panose="020B0504020101010102" pitchFamily="34" charset="-126"/>
                </a:rPr>
              </a:br>
              <a:br>
                <a:rPr lang="de-DE" sz="1400" dirty="0">
                  <a:solidFill>
                    <a:schemeClr val="bg1"/>
                  </a:solidFill>
                  <a:ea typeface="Akkurat LL" panose="020B0504020101010102" pitchFamily="34" charset="-126"/>
                  <a:cs typeface="Akkurat LL" panose="020B0504020101010102" pitchFamily="34" charset="-126"/>
                </a:rPr>
              </a:br>
              <a:r>
                <a:rPr lang="de-DE" sz="1400" dirty="0">
                  <a:solidFill>
                    <a:schemeClr val="bg1"/>
                  </a:solidFill>
                  <a:ea typeface="Akkurat LL Light" panose="020B0404020101010102" pitchFamily="34" charset="-126"/>
                  <a:cs typeface="Akkurat LL Light" panose="020B0404020101010102" pitchFamily="34" charset="-126"/>
                </a:rPr>
                <a:t>Nachhaltigkeit</a:t>
              </a:r>
            </a:p>
            <a:p>
              <a:endParaRPr lang="de-DE" sz="1400" b="1" dirty="0"/>
            </a:p>
          </p:txBody>
        </p:sp>
        <p:pic>
          <p:nvPicPr>
            <p:cNvPr id="39" name="Grafik 38">
              <a:extLst>
                <a:ext uri="{FF2B5EF4-FFF2-40B4-BE49-F238E27FC236}">
                  <a16:creationId xmlns:a16="http://schemas.microsoft.com/office/drawing/2014/main" id="{EA7BA990-2BF4-1CA4-1E83-645F264F19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96784" y="4162425"/>
              <a:ext cx="548316" cy="473968"/>
            </a:xfrm>
            <a:prstGeom prst="rect">
              <a:avLst/>
            </a:prstGeom>
          </p:spPr>
        </p:pic>
      </p:grpSp>
      <p:cxnSp>
        <p:nvCxnSpPr>
          <p:cNvPr id="46" name="Gerade Verbindung mit Pfeil 45">
            <a:extLst>
              <a:ext uri="{FF2B5EF4-FFF2-40B4-BE49-F238E27FC236}">
                <a16:creationId xmlns:a16="http://schemas.microsoft.com/office/drawing/2014/main" id="{09589EC1-A1F6-FA6A-EC84-9E083172D0F7}"/>
              </a:ext>
            </a:extLst>
          </p:cNvPr>
          <p:cNvCxnSpPr>
            <a:cxnSpLocks/>
          </p:cNvCxnSpPr>
          <p:nvPr/>
        </p:nvCxnSpPr>
        <p:spPr>
          <a:xfrm>
            <a:off x="0" y="5564352"/>
            <a:ext cx="12192000"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30317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3C26CD-5D39-F1D6-4D21-A159B3B21BD9}"/>
              </a:ext>
            </a:extLst>
          </p:cNvPr>
          <p:cNvGraphicFramePr>
            <a:graphicFrameLocks noChangeAspect="1"/>
          </p:cNvGraphicFramePr>
          <p:nvPr>
            <p:custDataLst>
              <p:tags r:id="rId1"/>
            </p:custDataLst>
            <p:extLst>
              <p:ext uri="{D42A27DB-BD31-4B8C-83A1-F6EECF244321}">
                <p14:modId xmlns:p14="http://schemas.microsoft.com/office/powerpoint/2010/main" val="44753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933C26CD-5D39-F1D6-4D21-A159B3B21B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92675617-EDFA-42BB-E428-16357A0AC52F}"/>
              </a:ext>
            </a:extLst>
          </p:cNvPr>
          <p:cNvSpPr/>
          <p:nvPr/>
        </p:nvSpPr>
        <p:spPr>
          <a:xfrm>
            <a:off x="0" y="4029075"/>
            <a:ext cx="12192000" cy="28289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 name="Titel 1">
            <a:extLst>
              <a:ext uri="{FF2B5EF4-FFF2-40B4-BE49-F238E27FC236}">
                <a16:creationId xmlns:a16="http://schemas.microsoft.com/office/drawing/2014/main" id="{706BDBCC-72CA-17DC-3B0D-0F7FD9A753DA}"/>
              </a:ext>
            </a:extLst>
          </p:cNvPr>
          <p:cNvSpPr>
            <a:spLocks noGrp="1"/>
          </p:cNvSpPr>
          <p:nvPr>
            <p:ph type="title"/>
          </p:nvPr>
        </p:nvSpPr>
        <p:spPr>
          <a:xfrm>
            <a:off x="623888" y="620713"/>
            <a:ext cx="9488833" cy="738664"/>
          </a:xfrm>
        </p:spPr>
        <p:txBody>
          <a:bodyPr vert="horz"/>
          <a:lstStyle/>
          <a:p>
            <a:r>
              <a:rPr lang="de-DE" dirty="0"/>
              <a:t>Ich bin eine Headline, in welcher manche wichtigen Begriffe</a:t>
            </a:r>
            <a:br>
              <a:rPr lang="de-DE" dirty="0"/>
            </a:br>
            <a:r>
              <a:rPr lang="de-DE" dirty="0"/>
              <a:t>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BEC1F0-FF9E-77F4-B6E5-DF0A2A0FCB40}"/>
              </a:ext>
            </a:extLst>
          </p:cNvPr>
          <p:cNvSpPr>
            <a:spLocks noGrp="1"/>
          </p:cNvSpPr>
          <p:nvPr>
            <p:ph type="ftr" sz="quarter" idx="10"/>
          </p:nvPr>
        </p:nvSpPr>
        <p:spPr>
          <a:xfrm>
            <a:off x="1171574" y="6443762"/>
            <a:ext cx="4924425" cy="153888"/>
          </a:xfrm>
        </p:spPr>
        <p:txBody>
          <a:bodyPr/>
          <a:lstStyle/>
          <a:p>
            <a:r>
              <a:rPr lang="de-DE">
                <a:solidFill>
                  <a:schemeClr val="tx1"/>
                </a:solidFill>
              </a:rPr>
              <a:t>© msg digital | Titel einfügen | 2024</a:t>
            </a:r>
            <a:endParaRPr lang="de-DE" dirty="0">
              <a:solidFill>
                <a:schemeClr val="tx1"/>
              </a:solidFill>
            </a:endParaRPr>
          </a:p>
        </p:txBody>
      </p:sp>
      <p:sp>
        <p:nvSpPr>
          <p:cNvPr id="4" name="Foliennummernplatzhalter 3">
            <a:extLst>
              <a:ext uri="{FF2B5EF4-FFF2-40B4-BE49-F238E27FC236}">
                <a16:creationId xmlns:a16="http://schemas.microsoft.com/office/drawing/2014/main" id="{86F97A39-969F-ADAD-1A70-FE8853BC7B0D}"/>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solidFill>
                  <a:schemeClr val="tx1"/>
                </a:solidFill>
              </a:rPr>
              <a:pPr/>
              <a:t>42</a:t>
            </a:fld>
            <a:endParaRPr lang="de-DE" dirty="0">
              <a:solidFill>
                <a:schemeClr val="tx1"/>
              </a:solidFill>
            </a:endParaRPr>
          </a:p>
        </p:txBody>
      </p:sp>
      <p:sp>
        <p:nvSpPr>
          <p:cNvPr id="11" name="Textplatzhalter 10">
            <a:extLst>
              <a:ext uri="{FF2B5EF4-FFF2-40B4-BE49-F238E27FC236}">
                <a16:creationId xmlns:a16="http://schemas.microsoft.com/office/drawing/2014/main" id="{69018C53-FFEB-6E13-CB99-FC3234BAEB0C}"/>
              </a:ext>
            </a:extLst>
          </p:cNvPr>
          <p:cNvSpPr>
            <a:spLocks noGrp="1"/>
          </p:cNvSpPr>
          <p:nvPr>
            <p:ph type="body" sz="quarter" idx="12"/>
          </p:nvPr>
        </p:nvSpPr>
        <p:spPr>
          <a:xfrm>
            <a:off x="623888" y="296523"/>
            <a:ext cx="1238654" cy="241980"/>
          </a:xfrm>
        </p:spPr>
        <p:txBody>
          <a:bodyPr/>
          <a:lstStyle/>
          <a:p>
            <a:r>
              <a:rPr lang="de-DE" dirty="0"/>
              <a:t>Ich bin ein Subtitle</a:t>
            </a:r>
          </a:p>
        </p:txBody>
      </p:sp>
      <p:pic>
        <p:nvPicPr>
          <p:cNvPr id="15" name="Grafik 14">
            <a:extLst>
              <a:ext uri="{FF2B5EF4-FFF2-40B4-BE49-F238E27FC236}">
                <a16:creationId xmlns:a16="http://schemas.microsoft.com/office/drawing/2014/main" id="{21ACFD33-B4E3-FB0A-9EA6-E83358627A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invGray">
          <a:xfrm>
            <a:off x="10957038" y="6352424"/>
            <a:ext cx="900000" cy="324000"/>
          </a:xfrm>
          <a:prstGeom prst="rect">
            <a:avLst/>
          </a:prstGeom>
        </p:spPr>
      </p:pic>
      <p:grpSp>
        <p:nvGrpSpPr>
          <p:cNvPr id="16" name="Gruppieren 15">
            <a:extLst>
              <a:ext uri="{FF2B5EF4-FFF2-40B4-BE49-F238E27FC236}">
                <a16:creationId xmlns:a16="http://schemas.microsoft.com/office/drawing/2014/main" id="{2C617B87-DA49-DD69-30BF-99C3CAD4CC3B}"/>
              </a:ext>
            </a:extLst>
          </p:cNvPr>
          <p:cNvGrpSpPr/>
          <p:nvPr/>
        </p:nvGrpSpPr>
        <p:grpSpPr>
          <a:xfrm>
            <a:off x="623888" y="3429000"/>
            <a:ext cx="11077575" cy="323136"/>
            <a:chOff x="390525" y="5928834"/>
            <a:chExt cx="11077575" cy="323136"/>
          </a:xfrm>
        </p:grpSpPr>
        <p:sp>
          <p:nvSpPr>
            <p:cNvPr id="17" name="Textfeld 16">
              <a:extLst>
                <a:ext uri="{FF2B5EF4-FFF2-40B4-BE49-F238E27FC236}">
                  <a16:creationId xmlns:a16="http://schemas.microsoft.com/office/drawing/2014/main" id="{22181C97-9482-86BD-FAB3-25FE0257C9E7}"/>
                </a:ext>
              </a:extLst>
            </p:cNvPr>
            <p:cNvSpPr txBox="1"/>
            <p:nvPr/>
          </p:nvSpPr>
          <p:spPr>
            <a:xfrm>
              <a:off x="1584526" y="6005750"/>
              <a:ext cx="565675" cy="153888"/>
            </a:xfrm>
            <a:prstGeom prst="rect">
              <a:avLst/>
            </a:prstGeom>
            <a:noFill/>
          </p:spPr>
          <p:txBody>
            <a:bodyPr wrap="square" lIns="0" tIns="0" rIns="0" bIns="0" rtlCol="0" anchor="ctr">
              <a:noAutofit/>
            </a:bodyPr>
            <a:lstStyle/>
            <a:p>
              <a:pPr algn="ctr"/>
              <a:r>
                <a:rPr lang="de-DE" sz="1000" b="1" dirty="0">
                  <a:solidFill>
                    <a:schemeClr val="bg1"/>
                  </a:solidFill>
                  <a:ea typeface="Akkurat LL" panose="020B0504020101010102" pitchFamily="34" charset="-126"/>
                  <a:cs typeface="Akkurat LL" panose="020B0504020101010102" pitchFamily="34" charset="-126"/>
                </a:rPr>
                <a:t>1845</a:t>
              </a:r>
              <a:endParaRPr lang="de-DE" sz="1000" dirty="0">
                <a:solidFill>
                  <a:schemeClr val="bg1"/>
                </a:solidFill>
                <a:ea typeface="Akkurat LL Light" panose="020B0404020101010102" pitchFamily="34" charset="-126"/>
                <a:cs typeface="Akkurat LL Light" panose="020B0404020101010102" pitchFamily="34" charset="-126"/>
              </a:endParaRPr>
            </a:p>
          </p:txBody>
        </p:sp>
        <p:sp>
          <p:nvSpPr>
            <p:cNvPr id="18" name="Textfeld 17">
              <a:extLst>
                <a:ext uri="{FF2B5EF4-FFF2-40B4-BE49-F238E27FC236}">
                  <a16:creationId xmlns:a16="http://schemas.microsoft.com/office/drawing/2014/main" id="{ED04D36D-6922-978D-11CE-6BEFBBE04234}"/>
                </a:ext>
              </a:extLst>
            </p:cNvPr>
            <p:cNvSpPr txBox="1"/>
            <p:nvPr/>
          </p:nvSpPr>
          <p:spPr>
            <a:xfrm>
              <a:off x="3451889"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0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19" name="Textfeld 18">
              <a:extLst>
                <a:ext uri="{FF2B5EF4-FFF2-40B4-BE49-F238E27FC236}">
                  <a16:creationId xmlns:a16="http://schemas.microsoft.com/office/drawing/2014/main" id="{065B2F53-483F-83B7-375C-6295849110E5}"/>
                </a:ext>
              </a:extLst>
            </p:cNvPr>
            <p:cNvSpPr txBox="1"/>
            <p:nvPr/>
          </p:nvSpPr>
          <p:spPr>
            <a:xfrm>
              <a:off x="5192362"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5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0" name="Textfeld 19">
              <a:extLst>
                <a:ext uri="{FF2B5EF4-FFF2-40B4-BE49-F238E27FC236}">
                  <a16:creationId xmlns:a16="http://schemas.microsoft.com/office/drawing/2014/main" id="{F39EF69B-4710-5DE7-D455-0F64C46F8198}"/>
                </a:ext>
              </a:extLst>
            </p:cNvPr>
            <p:cNvSpPr txBox="1"/>
            <p:nvPr/>
          </p:nvSpPr>
          <p:spPr>
            <a:xfrm>
              <a:off x="6983558"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1990</a:t>
              </a:r>
              <a:endParaRPr lang="de-DE" sz="1000">
                <a:solidFill>
                  <a:schemeClr val="bg1"/>
                </a:solidFill>
                <a:ea typeface="Akkurat LL Light" panose="020B0404020101010102" pitchFamily="34" charset="-126"/>
                <a:cs typeface="Akkurat LL Light" panose="020B0404020101010102" pitchFamily="34" charset="-126"/>
              </a:endParaRPr>
            </a:p>
          </p:txBody>
        </p:sp>
        <p:sp>
          <p:nvSpPr>
            <p:cNvPr id="21" name="Textfeld 20">
              <a:extLst>
                <a:ext uri="{FF2B5EF4-FFF2-40B4-BE49-F238E27FC236}">
                  <a16:creationId xmlns:a16="http://schemas.microsoft.com/office/drawing/2014/main" id="{2C25FD2E-DCF2-E629-17C9-B8ACD785CA32}"/>
                </a:ext>
              </a:extLst>
            </p:cNvPr>
            <p:cNvSpPr txBox="1"/>
            <p:nvPr/>
          </p:nvSpPr>
          <p:spPr>
            <a:xfrm>
              <a:off x="8867145" y="6005750"/>
              <a:ext cx="565675" cy="153888"/>
            </a:xfrm>
            <a:prstGeom prst="rect">
              <a:avLst/>
            </a:prstGeom>
            <a:noFill/>
          </p:spPr>
          <p:txBody>
            <a:bodyPr wrap="square" lIns="0" tIns="0" rIns="0" bIns="0" rtlCol="0" anchor="ctr">
              <a:noAutofit/>
            </a:bodyPr>
            <a:lstStyle/>
            <a:p>
              <a:pPr algn="ctr"/>
              <a:r>
                <a:rPr lang="de-DE" sz="1000" b="1">
                  <a:solidFill>
                    <a:schemeClr val="bg1"/>
                  </a:solidFill>
                  <a:ea typeface="Akkurat LL" panose="020B0504020101010102" pitchFamily="34" charset="-126"/>
                  <a:cs typeface="Akkurat LL" panose="020B0504020101010102" pitchFamily="34" charset="-126"/>
                </a:rPr>
                <a:t>2020</a:t>
              </a:r>
              <a:endParaRPr lang="de-DE" sz="1000">
                <a:solidFill>
                  <a:schemeClr val="bg1"/>
                </a:solidFill>
                <a:ea typeface="Akkurat LL Light" panose="020B0404020101010102" pitchFamily="34" charset="-126"/>
                <a:cs typeface="Akkurat LL Light" panose="020B0404020101010102" pitchFamily="34" charset="-126"/>
              </a:endParaRPr>
            </a:p>
          </p:txBody>
        </p:sp>
        <p:cxnSp>
          <p:nvCxnSpPr>
            <p:cNvPr id="22" name="Gerade Verbindung mit Pfeil 21">
              <a:extLst>
                <a:ext uri="{FF2B5EF4-FFF2-40B4-BE49-F238E27FC236}">
                  <a16:creationId xmlns:a16="http://schemas.microsoft.com/office/drawing/2014/main" id="{D32599E6-D476-869F-3A47-A8891BA91348}"/>
                </a:ext>
              </a:extLst>
            </p:cNvPr>
            <p:cNvCxnSpPr>
              <a:cxnSpLocks/>
            </p:cNvCxnSpPr>
            <p:nvPr/>
          </p:nvCxnSpPr>
          <p:spPr>
            <a:xfrm>
              <a:off x="390525" y="5928834"/>
              <a:ext cx="11077575" cy="0"/>
            </a:xfrm>
            <a:prstGeom prst="straightConnector1">
              <a:avLst/>
            </a:prstGeom>
            <a:ln w="317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13C9B587-468E-C0E0-EDDC-8EDA7B9D27C8}"/>
                </a:ext>
              </a:extLst>
            </p:cNvPr>
            <p:cNvSpPr txBox="1"/>
            <p:nvPr/>
          </p:nvSpPr>
          <p:spPr>
            <a:xfrm>
              <a:off x="10608267" y="6005749"/>
              <a:ext cx="565675" cy="246221"/>
            </a:xfrm>
            <a:prstGeom prst="rect">
              <a:avLst/>
            </a:prstGeom>
            <a:noFill/>
          </p:spPr>
          <p:txBody>
            <a:bodyPr wrap="square" rtlCol="0">
              <a:spAutoFit/>
            </a:bodyPr>
            <a:lstStyle/>
            <a:p>
              <a:pPr algn="ctr"/>
              <a:r>
                <a:rPr lang="de-DE" sz="1000" b="1">
                  <a:solidFill>
                    <a:schemeClr val="bg1"/>
                  </a:solidFill>
                  <a:ea typeface="Akkurat LL" panose="020B0504020101010102" pitchFamily="34" charset="-126"/>
                  <a:cs typeface="Akkurat LL" panose="020B0504020101010102" pitchFamily="34" charset="-126"/>
                </a:rPr>
                <a:t>2040</a:t>
              </a:r>
              <a:endParaRPr lang="de-DE" sz="1000">
                <a:solidFill>
                  <a:schemeClr val="bg1"/>
                </a:solidFill>
                <a:ea typeface="Akkurat LL Light" panose="020B0404020101010102" pitchFamily="34" charset="-126"/>
                <a:cs typeface="Akkurat LL Light" panose="020B0404020101010102" pitchFamily="34" charset="-126"/>
              </a:endParaRPr>
            </a:p>
          </p:txBody>
        </p:sp>
      </p:grpSp>
      <p:grpSp>
        <p:nvGrpSpPr>
          <p:cNvPr id="74" name="Gruppieren 73">
            <a:extLst>
              <a:ext uri="{FF2B5EF4-FFF2-40B4-BE49-F238E27FC236}">
                <a16:creationId xmlns:a16="http://schemas.microsoft.com/office/drawing/2014/main" id="{4C5FD8BD-09D0-ADE8-2E95-715C9C4545DF}"/>
              </a:ext>
            </a:extLst>
          </p:cNvPr>
          <p:cNvGrpSpPr>
            <a:grpSpLocks/>
          </p:cNvGrpSpPr>
          <p:nvPr/>
        </p:nvGrpSpPr>
        <p:grpSpPr>
          <a:xfrm>
            <a:off x="1287664" y="4288960"/>
            <a:ext cx="5230132" cy="226591"/>
            <a:chOff x="1287664" y="4079410"/>
            <a:chExt cx="5230132" cy="226591"/>
          </a:xfrm>
        </p:grpSpPr>
        <p:sp>
          <p:nvSpPr>
            <p:cNvPr id="52" name="Textfeld 51">
              <a:extLst>
                <a:ext uri="{FF2B5EF4-FFF2-40B4-BE49-F238E27FC236}">
                  <a16:creationId xmlns:a16="http://schemas.microsoft.com/office/drawing/2014/main" id="{E6F764F8-BBFC-C08F-6FF0-9D744CF9AA6D}"/>
                </a:ext>
              </a:extLst>
            </p:cNvPr>
            <p:cNvSpPr txBox="1">
              <a:spLocks/>
            </p:cNvSpPr>
            <p:nvPr/>
          </p:nvSpPr>
          <p:spPr>
            <a:xfrm>
              <a:off x="1287664" y="4079410"/>
              <a:ext cx="1119642" cy="226591"/>
            </a:xfrm>
            <a:prstGeom prst="rect">
              <a:avLst/>
            </a:prstGeom>
            <a:noFill/>
          </p:spPr>
          <p:txBody>
            <a:bodyPr wrap="square" lIns="72000" tIns="36000" rIns="72000" bIns="36000" rtlCol="0" anchor="ctr">
              <a:noAutofit/>
            </a:bodyPr>
            <a:lstStyle/>
            <a:p>
              <a:pPr algn="r"/>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3" name="Rechteck 52">
              <a:extLst>
                <a:ext uri="{FF2B5EF4-FFF2-40B4-BE49-F238E27FC236}">
                  <a16:creationId xmlns:a16="http://schemas.microsoft.com/office/drawing/2014/main" id="{1FF1AA8C-325A-61F4-8D49-5C3A0FDC4A27}"/>
                </a:ext>
              </a:extLst>
            </p:cNvPr>
            <p:cNvSpPr>
              <a:spLocks/>
            </p:cNvSpPr>
            <p:nvPr/>
          </p:nvSpPr>
          <p:spPr>
            <a:xfrm>
              <a:off x="2407306" y="4079410"/>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620A7EFF-CDCD-90E1-262B-F36E937D210D}"/>
                </a:ext>
              </a:extLst>
            </p:cNvPr>
            <p:cNvSpPr txBox="1">
              <a:spLocks/>
            </p:cNvSpPr>
            <p:nvPr/>
          </p:nvSpPr>
          <p:spPr>
            <a:xfrm>
              <a:off x="4590324" y="4079410"/>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5" name="Gruppieren 74">
            <a:extLst>
              <a:ext uri="{FF2B5EF4-FFF2-40B4-BE49-F238E27FC236}">
                <a16:creationId xmlns:a16="http://schemas.microsoft.com/office/drawing/2014/main" id="{F509D18D-EB38-3DCC-C3D1-FD7667178DC8}"/>
              </a:ext>
            </a:extLst>
          </p:cNvPr>
          <p:cNvGrpSpPr>
            <a:grpSpLocks/>
          </p:cNvGrpSpPr>
          <p:nvPr/>
        </p:nvGrpSpPr>
        <p:grpSpPr>
          <a:xfrm>
            <a:off x="3367268" y="4662492"/>
            <a:ext cx="4065600" cy="226591"/>
            <a:chOff x="3367268" y="4443816"/>
            <a:chExt cx="4065600" cy="226591"/>
          </a:xfrm>
        </p:grpSpPr>
        <p:sp>
          <p:nvSpPr>
            <p:cNvPr id="55" name="Textfeld 54">
              <a:extLst>
                <a:ext uri="{FF2B5EF4-FFF2-40B4-BE49-F238E27FC236}">
                  <a16:creationId xmlns:a16="http://schemas.microsoft.com/office/drawing/2014/main" id="{AD2B823E-6394-A396-ACEC-2BBF2BC4437F}"/>
                </a:ext>
              </a:extLst>
            </p:cNvPr>
            <p:cNvSpPr txBox="1">
              <a:spLocks/>
            </p:cNvSpPr>
            <p:nvPr/>
          </p:nvSpPr>
          <p:spPr>
            <a:xfrm>
              <a:off x="3367268" y="4443816"/>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6" name="Rechteck 55">
              <a:extLst>
                <a:ext uri="{FF2B5EF4-FFF2-40B4-BE49-F238E27FC236}">
                  <a16:creationId xmlns:a16="http://schemas.microsoft.com/office/drawing/2014/main" id="{57562F72-E6B8-692B-3744-C266552C5FAA}"/>
                </a:ext>
              </a:extLst>
            </p:cNvPr>
            <p:cNvSpPr>
              <a:spLocks/>
            </p:cNvSpPr>
            <p:nvPr/>
          </p:nvSpPr>
          <p:spPr>
            <a:xfrm>
              <a:off x="4486910" y="4443816"/>
              <a:ext cx="1018486"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1A9CF61-3A25-094D-5D17-5E1F20008002}"/>
                </a:ext>
              </a:extLst>
            </p:cNvPr>
            <p:cNvSpPr txBox="1">
              <a:spLocks/>
            </p:cNvSpPr>
            <p:nvPr/>
          </p:nvSpPr>
          <p:spPr>
            <a:xfrm>
              <a:off x="5505396" y="4443816"/>
              <a:ext cx="1927472" cy="226591"/>
            </a:xfrm>
            <a:prstGeom prst="rect">
              <a:avLst/>
            </a:prstGeom>
            <a:noFill/>
          </p:spPr>
          <p:txBody>
            <a:bodyPr wrap="square" lIns="72000" tIns="36000" rIns="72000" bIns="36000" rtlCol="0" anchor="ctr">
              <a:noAutofit/>
            </a:bodyPr>
            <a:lstStyle/>
            <a:p>
              <a:r>
                <a:rPr lang="de-DE" sz="1000" b="1" dirty="0">
                  <a:ea typeface="Akkurat LL" panose="020B0504020101010102" pitchFamily="34" charset="-126"/>
                  <a:cs typeface="Akkurat LL" panose="020B0504020101010102" pitchFamily="34" charset="-126"/>
                </a:rPr>
                <a:t>Lorem ipsum dolor</a:t>
              </a:r>
              <a:endParaRPr lang="de-DE" sz="1000" b="1" dirty="0">
                <a:ea typeface="Akkurat LL Light" panose="020B0404020101010102" pitchFamily="34" charset="-126"/>
                <a:cs typeface="Akkurat LL Light" panose="020B0404020101010102" pitchFamily="34" charset="-126"/>
              </a:endParaRPr>
            </a:p>
          </p:txBody>
        </p:sp>
      </p:grpSp>
      <p:grpSp>
        <p:nvGrpSpPr>
          <p:cNvPr id="76" name="Gruppieren 75">
            <a:extLst>
              <a:ext uri="{FF2B5EF4-FFF2-40B4-BE49-F238E27FC236}">
                <a16:creationId xmlns:a16="http://schemas.microsoft.com/office/drawing/2014/main" id="{85E97447-54FD-8B02-AA6D-FB6055A7B07E}"/>
              </a:ext>
            </a:extLst>
          </p:cNvPr>
          <p:cNvGrpSpPr>
            <a:grpSpLocks/>
          </p:cNvGrpSpPr>
          <p:nvPr/>
        </p:nvGrpSpPr>
        <p:grpSpPr>
          <a:xfrm>
            <a:off x="3367268" y="5036024"/>
            <a:ext cx="5494404" cy="226591"/>
            <a:chOff x="3367268" y="4834569"/>
            <a:chExt cx="5494404" cy="226591"/>
          </a:xfrm>
        </p:grpSpPr>
        <p:sp>
          <p:nvSpPr>
            <p:cNvPr id="58" name="Textfeld 57">
              <a:extLst>
                <a:ext uri="{FF2B5EF4-FFF2-40B4-BE49-F238E27FC236}">
                  <a16:creationId xmlns:a16="http://schemas.microsoft.com/office/drawing/2014/main" id="{01138ECD-4E0C-4063-FEA7-7902C4C52496}"/>
                </a:ext>
              </a:extLst>
            </p:cNvPr>
            <p:cNvSpPr txBox="1">
              <a:spLocks/>
            </p:cNvSpPr>
            <p:nvPr/>
          </p:nvSpPr>
          <p:spPr>
            <a:xfrm>
              <a:off x="3367268" y="4834569"/>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59" name="Rechteck 58">
              <a:extLst>
                <a:ext uri="{FF2B5EF4-FFF2-40B4-BE49-F238E27FC236}">
                  <a16:creationId xmlns:a16="http://schemas.microsoft.com/office/drawing/2014/main" id="{3C229DD4-A422-BCE1-ABF9-74D33CFC82DA}"/>
                </a:ext>
              </a:extLst>
            </p:cNvPr>
            <p:cNvSpPr>
              <a:spLocks/>
            </p:cNvSpPr>
            <p:nvPr/>
          </p:nvSpPr>
          <p:spPr>
            <a:xfrm>
              <a:off x="4486910" y="4834569"/>
              <a:ext cx="2447290"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0" name="Textfeld 59">
              <a:extLst>
                <a:ext uri="{FF2B5EF4-FFF2-40B4-BE49-F238E27FC236}">
                  <a16:creationId xmlns:a16="http://schemas.microsoft.com/office/drawing/2014/main" id="{26932AC4-0D75-5FDD-6614-A48AC54074AC}"/>
                </a:ext>
              </a:extLst>
            </p:cNvPr>
            <p:cNvSpPr txBox="1">
              <a:spLocks/>
            </p:cNvSpPr>
            <p:nvPr/>
          </p:nvSpPr>
          <p:spPr>
            <a:xfrm>
              <a:off x="6934200" y="4834569"/>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7" name="Gruppieren 76">
            <a:extLst>
              <a:ext uri="{FF2B5EF4-FFF2-40B4-BE49-F238E27FC236}">
                <a16:creationId xmlns:a16="http://schemas.microsoft.com/office/drawing/2014/main" id="{1A505E23-2462-D15E-98F8-C4FDAE07613E}"/>
              </a:ext>
            </a:extLst>
          </p:cNvPr>
          <p:cNvGrpSpPr/>
          <p:nvPr/>
        </p:nvGrpSpPr>
        <p:grpSpPr>
          <a:xfrm>
            <a:off x="6321867" y="5409557"/>
            <a:ext cx="5230131" cy="226591"/>
            <a:chOff x="6321867" y="5200007"/>
            <a:chExt cx="5230131" cy="226591"/>
          </a:xfrm>
        </p:grpSpPr>
        <p:sp>
          <p:nvSpPr>
            <p:cNvPr id="61" name="Textfeld 60">
              <a:extLst>
                <a:ext uri="{FF2B5EF4-FFF2-40B4-BE49-F238E27FC236}">
                  <a16:creationId xmlns:a16="http://schemas.microsoft.com/office/drawing/2014/main" id="{4A1E6510-63B7-7E69-4C0D-75EFC22674BA}"/>
                </a:ext>
              </a:extLst>
            </p:cNvPr>
            <p:cNvSpPr txBox="1">
              <a:spLocks/>
            </p:cNvSpPr>
            <p:nvPr/>
          </p:nvSpPr>
          <p:spPr>
            <a:xfrm>
              <a:off x="6321867" y="5200007"/>
              <a:ext cx="1119642" cy="226591"/>
            </a:xfrm>
            <a:prstGeom prst="rect">
              <a:avLst/>
            </a:prstGeom>
            <a:noFill/>
          </p:spPr>
          <p:txBody>
            <a:bodyPr wrap="square" lIns="72000" tIns="36000" rIns="72000" bIns="36000" rtlCol="0" anchor="ctr">
              <a:noAutofit/>
            </a:bodyPr>
            <a:lstStyle/>
            <a:p>
              <a:r>
                <a:rPr lang="de-DE" sz="1000" dirty="0">
                  <a:ea typeface="Akkurat LL" panose="020B0504020101010102" pitchFamily="34" charset="-126"/>
                  <a:cs typeface="Akkurat LL" panose="020B0504020101010102" pitchFamily="34" charset="-126"/>
                </a:rPr>
                <a:t>TT.MM – TT.MM</a:t>
              </a:r>
              <a:endParaRPr lang="de-DE" sz="1000" dirty="0">
                <a:ea typeface="Akkurat LL Light" panose="020B0404020101010102" pitchFamily="34" charset="-126"/>
                <a:cs typeface="Akkurat LL Light" panose="020B0404020101010102" pitchFamily="34" charset="-126"/>
              </a:endParaRPr>
            </a:p>
          </p:txBody>
        </p:sp>
        <p:sp>
          <p:nvSpPr>
            <p:cNvPr id="62" name="Rechteck 61">
              <a:extLst>
                <a:ext uri="{FF2B5EF4-FFF2-40B4-BE49-F238E27FC236}">
                  <a16:creationId xmlns:a16="http://schemas.microsoft.com/office/drawing/2014/main" id="{C75841A7-901A-E29D-DA28-F13DF2F4DF45}"/>
                </a:ext>
              </a:extLst>
            </p:cNvPr>
            <p:cNvSpPr>
              <a:spLocks/>
            </p:cNvSpPr>
            <p:nvPr/>
          </p:nvSpPr>
          <p:spPr>
            <a:xfrm>
              <a:off x="7441509" y="5200007"/>
              <a:ext cx="2183018" cy="226591"/>
            </a:xfrm>
            <a:prstGeom prst="rect">
              <a:avLst/>
            </a:prstGeom>
            <a:solidFill>
              <a:schemeClr val="bg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63" name="Textfeld 62">
              <a:extLst>
                <a:ext uri="{FF2B5EF4-FFF2-40B4-BE49-F238E27FC236}">
                  <a16:creationId xmlns:a16="http://schemas.microsoft.com/office/drawing/2014/main" id="{FB2FD672-E937-3C6D-064D-0811E923164C}"/>
                </a:ext>
              </a:extLst>
            </p:cNvPr>
            <p:cNvSpPr txBox="1">
              <a:spLocks/>
            </p:cNvSpPr>
            <p:nvPr/>
          </p:nvSpPr>
          <p:spPr>
            <a:xfrm>
              <a:off x="9624526" y="5200007"/>
              <a:ext cx="1927472" cy="226591"/>
            </a:xfrm>
            <a:prstGeom prst="rect">
              <a:avLst/>
            </a:prstGeom>
            <a:noFill/>
          </p:spPr>
          <p:txBody>
            <a:bodyPr wrap="square" lIns="72000" tIns="36000" rIns="72000" bIns="36000" rtlCol="0" anchor="ctr">
              <a:noAutofit/>
            </a:bodyPr>
            <a:lstStyle/>
            <a:p>
              <a:r>
                <a:rPr lang="de-DE" sz="1000" b="1" err="1">
                  <a:ea typeface="Akkurat LL" panose="020B0504020101010102" pitchFamily="34" charset="-126"/>
                  <a:cs typeface="Akkurat LL" panose="020B0504020101010102" pitchFamily="34" charset="-126"/>
                </a:rPr>
                <a:t>Lore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ipsum</a:t>
              </a:r>
              <a:r>
                <a:rPr lang="de-DE" sz="1000" b="1">
                  <a:ea typeface="Akkurat LL" panose="020B0504020101010102" pitchFamily="34" charset="-126"/>
                  <a:cs typeface="Akkurat LL" panose="020B0504020101010102" pitchFamily="34" charset="-126"/>
                </a:rPr>
                <a:t> </a:t>
              </a:r>
              <a:r>
                <a:rPr lang="de-DE" sz="1000" b="1" err="1">
                  <a:ea typeface="Akkurat LL" panose="020B0504020101010102" pitchFamily="34" charset="-126"/>
                  <a:cs typeface="Akkurat LL" panose="020B0504020101010102" pitchFamily="34" charset="-126"/>
                </a:rPr>
                <a:t>dolor</a:t>
              </a:r>
              <a:endParaRPr lang="de-DE" sz="1000" b="1">
                <a:ea typeface="Akkurat LL Light" panose="020B0404020101010102" pitchFamily="34" charset="-126"/>
                <a:cs typeface="Akkurat LL Light" panose="020B0404020101010102" pitchFamily="34" charset="-126"/>
              </a:endParaRPr>
            </a:p>
          </p:txBody>
        </p:sp>
      </p:grpSp>
      <p:grpSp>
        <p:nvGrpSpPr>
          <p:cNvPr id="73" name="Gruppieren 72">
            <a:extLst>
              <a:ext uri="{FF2B5EF4-FFF2-40B4-BE49-F238E27FC236}">
                <a16:creationId xmlns:a16="http://schemas.microsoft.com/office/drawing/2014/main" id="{0B1999D7-D08A-D867-2AE5-2DBBB5907E60}"/>
              </a:ext>
            </a:extLst>
          </p:cNvPr>
          <p:cNvGrpSpPr/>
          <p:nvPr/>
        </p:nvGrpSpPr>
        <p:grpSpPr>
          <a:xfrm>
            <a:off x="1623060" y="1773238"/>
            <a:ext cx="1211600" cy="1655762"/>
            <a:chOff x="1623060" y="1773238"/>
            <a:chExt cx="1211600" cy="1655762"/>
          </a:xfrm>
        </p:grpSpPr>
        <p:cxnSp>
          <p:nvCxnSpPr>
            <p:cNvPr id="29" name="Gerader Verbinder 28">
              <a:extLst>
                <a:ext uri="{FF2B5EF4-FFF2-40B4-BE49-F238E27FC236}">
                  <a16:creationId xmlns:a16="http://schemas.microsoft.com/office/drawing/2014/main" id="{C388600F-73A6-009E-279B-7DFFB61A06C2}"/>
                </a:ext>
              </a:extLst>
            </p:cNvPr>
            <p:cNvCxnSpPr>
              <a:cxnSpLocks/>
            </p:cNvCxnSpPr>
            <p:nvPr/>
          </p:nvCxnSpPr>
          <p:spPr>
            <a:xfrm flipV="1">
              <a:off x="162306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D312890-9391-4ACE-A02D-2D829C501196}"/>
                </a:ext>
              </a:extLst>
            </p:cNvPr>
            <p:cNvSpPr txBox="1">
              <a:spLocks/>
            </p:cNvSpPr>
            <p:nvPr/>
          </p:nvSpPr>
          <p:spPr>
            <a:xfrm>
              <a:off x="1623603" y="1773238"/>
              <a:ext cx="1211057" cy="380480"/>
            </a:xfrm>
            <a:prstGeom prst="rect">
              <a:avLst/>
            </a:prstGeom>
            <a:noFill/>
          </p:spPr>
          <p:txBody>
            <a:bodyPr wrap="square" lIns="108000" tIns="72000" rIns="0" bIns="0" rtlCol="0">
              <a:noAutofit/>
            </a:bodyPr>
            <a:lstStyle/>
            <a:p>
              <a:r>
                <a:rPr lang="de-DE" sz="1000" dirty="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dirty="0">
                  <a:solidFill>
                    <a:schemeClr val="bg1">
                      <a:lumMod val="100000"/>
                    </a:schemeClr>
                  </a:solidFill>
                  <a:ea typeface="Akkurat LL Light" panose="020B0404020101010102" pitchFamily="34" charset="-126"/>
                  <a:cs typeface="Akkurat LL Light" panose="020B0404020101010102" pitchFamily="34" charset="-126"/>
                </a:rPr>
                <a:t>Meilenstein 1</a:t>
              </a:r>
            </a:p>
          </p:txBody>
        </p:sp>
      </p:grpSp>
      <p:grpSp>
        <p:nvGrpSpPr>
          <p:cNvPr id="72" name="Gruppieren 71">
            <a:extLst>
              <a:ext uri="{FF2B5EF4-FFF2-40B4-BE49-F238E27FC236}">
                <a16:creationId xmlns:a16="http://schemas.microsoft.com/office/drawing/2014/main" id="{E0F6C173-A955-06D6-D314-40B69989894A}"/>
              </a:ext>
            </a:extLst>
          </p:cNvPr>
          <p:cNvGrpSpPr/>
          <p:nvPr/>
        </p:nvGrpSpPr>
        <p:grpSpPr>
          <a:xfrm>
            <a:off x="4486910" y="1773238"/>
            <a:ext cx="1211600" cy="1655762"/>
            <a:chOff x="4486910" y="1773238"/>
            <a:chExt cx="1211600" cy="1655762"/>
          </a:xfrm>
        </p:grpSpPr>
        <p:cxnSp>
          <p:nvCxnSpPr>
            <p:cNvPr id="36" name="Gerader Verbinder 35">
              <a:extLst>
                <a:ext uri="{FF2B5EF4-FFF2-40B4-BE49-F238E27FC236}">
                  <a16:creationId xmlns:a16="http://schemas.microsoft.com/office/drawing/2014/main" id="{F76FD210-665C-96B4-A38B-EEFF76E75477}"/>
                </a:ext>
              </a:extLst>
            </p:cNvPr>
            <p:cNvCxnSpPr>
              <a:cxnSpLocks/>
            </p:cNvCxnSpPr>
            <p:nvPr/>
          </p:nvCxnSpPr>
          <p:spPr>
            <a:xfrm flipV="1">
              <a:off x="4486910" y="1773238"/>
              <a:ext cx="0" cy="1655762"/>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5" name="Textfeld 64">
              <a:extLst>
                <a:ext uri="{FF2B5EF4-FFF2-40B4-BE49-F238E27FC236}">
                  <a16:creationId xmlns:a16="http://schemas.microsoft.com/office/drawing/2014/main" id="{68817BB4-9DC9-C18C-1878-1CFCFB76320A}"/>
                </a:ext>
              </a:extLst>
            </p:cNvPr>
            <p:cNvSpPr txBox="1">
              <a:spLocks/>
            </p:cNvSpPr>
            <p:nvPr/>
          </p:nvSpPr>
          <p:spPr>
            <a:xfrm>
              <a:off x="4487453" y="1773238"/>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2</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1" name="Gruppieren 70">
            <a:extLst>
              <a:ext uri="{FF2B5EF4-FFF2-40B4-BE49-F238E27FC236}">
                <a16:creationId xmlns:a16="http://schemas.microsoft.com/office/drawing/2014/main" id="{808CB0B8-A58D-F94F-A948-F0A57B488418}"/>
              </a:ext>
            </a:extLst>
          </p:cNvPr>
          <p:cNvGrpSpPr/>
          <p:nvPr/>
        </p:nvGrpSpPr>
        <p:grpSpPr>
          <a:xfrm>
            <a:off x="4848204" y="2485071"/>
            <a:ext cx="1211600" cy="943929"/>
            <a:chOff x="4848204" y="2485071"/>
            <a:chExt cx="1211600" cy="943929"/>
          </a:xfrm>
        </p:grpSpPr>
        <p:cxnSp>
          <p:nvCxnSpPr>
            <p:cNvPr id="43" name="Gerader Verbinder 42">
              <a:extLst>
                <a:ext uri="{FF2B5EF4-FFF2-40B4-BE49-F238E27FC236}">
                  <a16:creationId xmlns:a16="http://schemas.microsoft.com/office/drawing/2014/main" id="{2818E819-4040-E15B-4B23-D176E8C322AB}"/>
                </a:ext>
              </a:extLst>
            </p:cNvPr>
            <p:cNvCxnSpPr>
              <a:cxnSpLocks/>
            </p:cNvCxnSpPr>
            <p:nvPr/>
          </p:nvCxnSpPr>
          <p:spPr>
            <a:xfrm flipV="1">
              <a:off x="48482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6381EE2A-145E-AE40-4537-20B01958BF6E}"/>
                </a:ext>
              </a:extLst>
            </p:cNvPr>
            <p:cNvSpPr txBox="1">
              <a:spLocks/>
            </p:cNvSpPr>
            <p:nvPr/>
          </p:nvSpPr>
          <p:spPr>
            <a:xfrm>
              <a:off x="48487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grpSp>
        <p:nvGrpSpPr>
          <p:cNvPr id="70" name="Gruppieren 69">
            <a:extLst>
              <a:ext uri="{FF2B5EF4-FFF2-40B4-BE49-F238E27FC236}">
                <a16:creationId xmlns:a16="http://schemas.microsoft.com/office/drawing/2014/main" id="{F92896B4-08F7-4900-B8C2-3044928DF385}"/>
              </a:ext>
            </a:extLst>
          </p:cNvPr>
          <p:cNvGrpSpPr/>
          <p:nvPr/>
        </p:nvGrpSpPr>
        <p:grpSpPr>
          <a:xfrm>
            <a:off x="8429604" y="2485071"/>
            <a:ext cx="1211600" cy="943929"/>
            <a:chOff x="8429604" y="2485071"/>
            <a:chExt cx="1211600" cy="943929"/>
          </a:xfrm>
        </p:grpSpPr>
        <p:cxnSp>
          <p:nvCxnSpPr>
            <p:cNvPr id="50" name="Gerader Verbinder 49">
              <a:extLst>
                <a:ext uri="{FF2B5EF4-FFF2-40B4-BE49-F238E27FC236}">
                  <a16:creationId xmlns:a16="http://schemas.microsoft.com/office/drawing/2014/main" id="{34F83B37-53DC-E52B-A008-394B147EA114}"/>
                </a:ext>
              </a:extLst>
            </p:cNvPr>
            <p:cNvCxnSpPr>
              <a:cxnSpLocks/>
            </p:cNvCxnSpPr>
            <p:nvPr/>
          </p:nvCxnSpPr>
          <p:spPr>
            <a:xfrm flipV="1">
              <a:off x="8429604" y="2485071"/>
              <a:ext cx="0" cy="943929"/>
            </a:xfrm>
            <a:prstGeom prst="line">
              <a:avLst/>
            </a:prstGeom>
            <a:ln>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F43DDBC4-DB3C-21B4-9F3B-D13421324BFB}"/>
                </a:ext>
              </a:extLst>
            </p:cNvPr>
            <p:cNvSpPr txBox="1">
              <a:spLocks/>
            </p:cNvSpPr>
            <p:nvPr/>
          </p:nvSpPr>
          <p:spPr>
            <a:xfrm>
              <a:off x="8430147" y="2485071"/>
              <a:ext cx="1211057" cy="380480"/>
            </a:xfrm>
            <a:prstGeom prst="rect">
              <a:avLst/>
            </a:prstGeom>
            <a:noFill/>
          </p:spPr>
          <p:txBody>
            <a:bodyPr wrap="square" lIns="108000" tIns="72000" rIns="0" bIns="0" rtlCol="0">
              <a:noAutofit/>
            </a:bodyPr>
            <a:lstStyle/>
            <a:p>
              <a:r>
                <a:rPr lang="de-DE" sz="1000">
                  <a:solidFill>
                    <a:schemeClr val="bg1">
                      <a:lumMod val="100000"/>
                    </a:schemeClr>
                  </a:solidFill>
                  <a:ea typeface="Akkurat LL Light" panose="020B0404020101010102" pitchFamily="34" charset="-126"/>
                  <a:cs typeface="Akkurat LL Light" panose="020B0404020101010102" pitchFamily="34" charset="-126"/>
                </a:rPr>
                <a:t>TT.MM – TT.MM</a:t>
              </a:r>
            </a:p>
            <a:p>
              <a:r>
                <a:rPr lang="de-DE" sz="1000" b="1">
                  <a:solidFill>
                    <a:schemeClr val="bg1">
                      <a:lumMod val="100000"/>
                    </a:schemeClr>
                  </a:solidFill>
                  <a:ea typeface="Akkurat LL Light" panose="020B0404020101010102" pitchFamily="34" charset="-126"/>
                  <a:cs typeface="Akkurat LL Light" panose="020B0404020101010102" pitchFamily="34" charset="-126"/>
                </a:rPr>
                <a:t>Meilenstein 3</a:t>
              </a:r>
              <a:endParaRPr lang="de-DE" sz="1000" b="1" dirty="0">
                <a:solidFill>
                  <a:schemeClr val="bg1">
                    <a:lumMod val="100000"/>
                  </a:schemeClr>
                </a:solidFill>
                <a:ea typeface="Akkurat LL Light" panose="020B0404020101010102" pitchFamily="34" charset="-126"/>
                <a:cs typeface="Akkurat LL Light" panose="020B0404020101010102" pitchFamily="34" charset="-126"/>
              </a:endParaRPr>
            </a:p>
          </p:txBody>
        </p:sp>
      </p:grpSp>
    </p:spTree>
    <p:extLst>
      <p:ext uri="{BB962C8B-B14F-4D97-AF65-F5344CB8AC3E}">
        <p14:creationId xmlns:p14="http://schemas.microsoft.com/office/powerpoint/2010/main" val="2085545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E1FBD6F-0AE4-5035-D007-E25638630BF0}"/>
              </a:ext>
            </a:extLst>
          </p:cNvPr>
          <p:cNvGraphicFramePr>
            <a:graphicFrameLocks noChangeAspect="1"/>
          </p:cNvGraphicFramePr>
          <p:nvPr>
            <p:custDataLst>
              <p:tags r:id="rId1"/>
            </p:custDataLst>
            <p:extLst>
              <p:ext uri="{D42A27DB-BD31-4B8C-83A1-F6EECF244321}">
                <p14:modId xmlns:p14="http://schemas.microsoft.com/office/powerpoint/2010/main" val="64857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8E1FBD6F-0AE4-5035-D007-E25638630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el 15">
            <a:extLst>
              <a:ext uri="{FF2B5EF4-FFF2-40B4-BE49-F238E27FC236}">
                <a16:creationId xmlns:a16="http://schemas.microsoft.com/office/drawing/2014/main" id="{255700F4-7C2E-1696-FAFA-5A22D08DEC8C}"/>
              </a:ext>
            </a:extLst>
          </p:cNvPr>
          <p:cNvSpPr>
            <a:spLocks noGrp="1"/>
          </p:cNvSpPr>
          <p:nvPr>
            <p:ph type="title"/>
          </p:nvPr>
        </p:nvSpPr>
        <p:spPr>
          <a:xfrm>
            <a:off x="623888" y="620713"/>
            <a:ext cx="9488833" cy="738664"/>
          </a:xfrm>
        </p:spPr>
        <p:txBody>
          <a:bodyPr vert="horz"/>
          <a:lstStyle/>
          <a:p>
            <a:r>
              <a:rPr lang="de-DE" dirty="0"/>
              <a:t>Ich bin eine Headline, in welcher manche wichtigen</a:t>
            </a:r>
            <a:br>
              <a:rPr lang="de-DE" dirty="0"/>
            </a:br>
            <a:r>
              <a:rPr lang="de-DE" dirty="0"/>
              <a:t>Begriffe auch </a:t>
            </a:r>
            <a:r>
              <a:rPr lang="de-DE" b="1" dirty="0"/>
              <a:t>fett geschrieben </a:t>
            </a:r>
            <a:r>
              <a:rPr lang="de-DE" dirty="0"/>
              <a:t>werden können.</a:t>
            </a:r>
          </a:p>
        </p:txBody>
      </p:sp>
      <p:sp>
        <p:nvSpPr>
          <p:cNvPr id="3" name="Fußzeilenplatzhalter 2">
            <a:extLst>
              <a:ext uri="{FF2B5EF4-FFF2-40B4-BE49-F238E27FC236}">
                <a16:creationId xmlns:a16="http://schemas.microsoft.com/office/drawing/2014/main" id="{C860138E-1157-C9A7-6117-4C426D6BBF9D}"/>
              </a:ext>
            </a:extLst>
          </p:cNvPr>
          <p:cNvSpPr>
            <a:spLocks noGrp="1"/>
          </p:cNvSpPr>
          <p:nvPr>
            <p:ph type="ftr" sz="quarter" idx="10"/>
          </p:nvPr>
        </p:nvSpPr>
        <p:spPr>
          <a:xfrm>
            <a:off x="1171574" y="6443762"/>
            <a:ext cx="4924425" cy="153888"/>
          </a:xfrm>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DEFCB029-2693-8E25-3269-BE85B7F17B97}"/>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43</a:t>
            </a:fld>
            <a:endParaRPr lang="de-DE" dirty="0"/>
          </a:p>
        </p:txBody>
      </p:sp>
      <p:sp>
        <p:nvSpPr>
          <p:cNvPr id="12" name="Textplatzhalter 11">
            <a:extLst>
              <a:ext uri="{FF2B5EF4-FFF2-40B4-BE49-F238E27FC236}">
                <a16:creationId xmlns:a16="http://schemas.microsoft.com/office/drawing/2014/main" id="{5133013A-C0A5-5252-FAFC-F101CCE6E5EF}"/>
              </a:ext>
            </a:extLst>
          </p:cNvPr>
          <p:cNvSpPr>
            <a:spLocks noGrp="1"/>
          </p:cNvSpPr>
          <p:nvPr>
            <p:ph type="body" sz="quarter" idx="12"/>
          </p:nvPr>
        </p:nvSpPr>
        <p:spPr>
          <a:xfrm>
            <a:off x="623888" y="296523"/>
            <a:ext cx="1238654" cy="241980"/>
          </a:xfrm>
        </p:spPr>
        <p:txBody>
          <a:bodyPr/>
          <a:lstStyle/>
          <a:p>
            <a:r>
              <a:rPr lang="de-DE" dirty="0"/>
              <a:t>Ich bin ein Subtitle</a:t>
            </a:r>
          </a:p>
        </p:txBody>
      </p:sp>
      <p:sp>
        <p:nvSpPr>
          <p:cNvPr id="25" name="Pfeil: Fünfeck 24">
            <a:extLst>
              <a:ext uri="{FF2B5EF4-FFF2-40B4-BE49-F238E27FC236}">
                <a16:creationId xmlns:a16="http://schemas.microsoft.com/office/drawing/2014/main" id="{DB05101C-ECB1-694A-94A2-02B71339A5C1}"/>
              </a:ext>
            </a:extLst>
          </p:cNvPr>
          <p:cNvSpPr>
            <a:spLocks/>
          </p:cNvSpPr>
          <p:nvPr/>
        </p:nvSpPr>
        <p:spPr>
          <a:xfrm>
            <a:off x="623887" y="1776386"/>
            <a:ext cx="2916288" cy="758470"/>
          </a:xfrm>
          <a:prstGeom prst="homePlate">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dirty="0" err="1"/>
              <a:t>Step</a:t>
            </a:r>
            <a:r>
              <a:rPr lang="de-DE" sz="2000" b="1" kern="1200" dirty="0"/>
              <a:t> 1</a:t>
            </a:r>
          </a:p>
        </p:txBody>
      </p:sp>
      <p:sp>
        <p:nvSpPr>
          <p:cNvPr id="28" name="Pfeil: Chevron 27">
            <a:extLst>
              <a:ext uri="{FF2B5EF4-FFF2-40B4-BE49-F238E27FC236}">
                <a16:creationId xmlns:a16="http://schemas.microsoft.com/office/drawing/2014/main" id="{690953A0-59CD-3557-5B81-31B69B374378}"/>
              </a:ext>
            </a:extLst>
          </p:cNvPr>
          <p:cNvSpPr>
            <a:spLocks/>
          </p:cNvSpPr>
          <p:nvPr/>
        </p:nvSpPr>
        <p:spPr>
          <a:xfrm>
            <a:off x="3396176"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2</a:t>
            </a:r>
            <a:endParaRPr lang="de-DE" sz="2000" b="1" kern="1200" dirty="0"/>
          </a:p>
        </p:txBody>
      </p:sp>
      <p:sp>
        <p:nvSpPr>
          <p:cNvPr id="31" name="Pfeil: Chevron 30">
            <a:extLst>
              <a:ext uri="{FF2B5EF4-FFF2-40B4-BE49-F238E27FC236}">
                <a16:creationId xmlns:a16="http://schemas.microsoft.com/office/drawing/2014/main" id="{BE56B976-449C-5169-0037-E9C9A5290649}"/>
              </a:ext>
            </a:extLst>
          </p:cNvPr>
          <p:cNvSpPr>
            <a:spLocks/>
          </p:cNvSpPr>
          <p:nvPr/>
        </p:nvSpPr>
        <p:spPr>
          <a:xfrm>
            <a:off x="6168463"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3</a:t>
            </a:r>
            <a:endParaRPr lang="de-DE" sz="2000" b="1" kern="1200" dirty="0"/>
          </a:p>
        </p:txBody>
      </p:sp>
      <p:sp>
        <p:nvSpPr>
          <p:cNvPr id="34" name="Pfeil: Chevron 33">
            <a:extLst>
              <a:ext uri="{FF2B5EF4-FFF2-40B4-BE49-F238E27FC236}">
                <a16:creationId xmlns:a16="http://schemas.microsoft.com/office/drawing/2014/main" id="{32EC84B5-EE01-E4D6-4222-8F9AA2228E6B}"/>
              </a:ext>
            </a:extLst>
          </p:cNvPr>
          <p:cNvSpPr>
            <a:spLocks/>
          </p:cNvSpPr>
          <p:nvPr/>
        </p:nvSpPr>
        <p:spPr>
          <a:xfrm>
            <a:off x="8940751" y="1776386"/>
            <a:ext cx="2916288" cy="758470"/>
          </a:xfrm>
          <a:prstGeom prst="chevron">
            <a:avLst>
              <a:gd name="adj" fmla="val 26136"/>
            </a:avLst>
          </a:prstGeom>
          <a:solidFill>
            <a:schemeClr val="tx1"/>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lIns="180000" tIns="108000" rIns="180000" bIns="108000" anchor="ctr"/>
          <a:lstStyle/>
          <a:p>
            <a:pPr marL="0" lvl="0" indent="0" defTabSz="1066800">
              <a:lnSpc>
                <a:spcPct val="90000"/>
              </a:lnSpc>
              <a:spcBef>
                <a:spcPct val="0"/>
              </a:spcBef>
              <a:spcAft>
                <a:spcPct val="35000"/>
              </a:spcAft>
              <a:buNone/>
            </a:pPr>
            <a:r>
              <a:rPr lang="de-DE" sz="2000" b="1" kern="1200"/>
              <a:t>Step 4</a:t>
            </a:r>
            <a:endParaRPr lang="de-DE" sz="2000" b="1" kern="1200" dirty="0"/>
          </a:p>
        </p:txBody>
      </p:sp>
      <p:pic>
        <p:nvPicPr>
          <p:cNvPr id="40" name="Grafik 39">
            <a:extLst>
              <a:ext uri="{FF2B5EF4-FFF2-40B4-BE49-F238E27FC236}">
                <a16:creationId xmlns:a16="http://schemas.microsoft.com/office/drawing/2014/main" id="{0DF9EA3E-D0CB-6BF7-6D21-21CECA3644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23887" y="2534856"/>
            <a:ext cx="766194" cy="766194"/>
          </a:xfrm>
          <a:prstGeom prst="rect">
            <a:avLst/>
          </a:prstGeom>
        </p:spPr>
      </p:pic>
      <p:pic>
        <p:nvPicPr>
          <p:cNvPr id="41" name="Grafik 40">
            <a:extLst>
              <a:ext uri="{FF2B5EF4-FFF2-40B4-BE49-F238E27FC236}">
                <a16:creationId xmlns:a16="http://schemas.microsoft.com/office/drawing/2014/main" id="{038310C1-1A8C-E6AE-BCB5-5F13335404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6327445" y="2534856"/>
            <a:ext cx="766194" cy="766194"/>
          </a:xfrm>
          <a:prstGeom prst="rect">
            <a:avLst/>
          </a:prstGeom>
        </p:spPr>
      </p:pic>
      <p:pic>
        <p:nvPicPr>
          <p:cNvPr id="42" name="Grafik 41">
            <a:extLst>
              <a:ext uri="{FF2B5EF4-FFF2-40B4-BE49-F238E27FC236}">
                <a16:creationId xmlns:a16="http://schemas.microsoft.com/office/drawing/2014/main" id="{D858B869-A71D-A617-0F07-951B1755F7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3517072" y="2534856"/>
            <a:ext cx="766194" cy="766194"/>
          </a:xfrm>
          <a:prstGeom prst="rect">
            <a:avLst/>
          </a:prstGeom>
        </p:spPr>
      </p:pic>
      <p:pic>
        <p:nvPicPr>
          <p:cNvPr id="43" name="Grafik 42">
            <a:extLst>
              <a:ext uri="{FF2B5EF4-FFF2-40B4-BE49-F238E27FC236}">
                <a16:creationId xmlns:a16="http://schemas.microsoft.com/office/drawing/2014/main" id="{6A0EA5F1-5C92-7D28-23DE-08D0414B833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9131468" y="2534856"/>
            <a:ext cx="766194" cy="766194"/>
          </a:xfrm>
          <a:prstGeom prst="rect">
            <a:avLst/>
          </a:prstGeom>
        </p:spPr>
      </p:pic>
      <p:sp>
        <p:nvSpPr>
          <p:cNvPr id="50" name="Textfeld 49">
            <a:extLst>
              <a:ext uri="{FF2B5EF4-FFF2-40B4-BE49-F238E27FC236}">
                <a16:creationId xmlns:a16="http://schemas.microsoft.com/office/drawing/2014/main" id="{8DE3B72E-ADA0-4895-7C88-3E1C2AC44604}"/>
              </a:ext>
            </a:extLst>
          </p:cNvPr>
          <p:cNvSpPr txBox="1">
            <a:spLocks/>
          </p:cNvSpPr>
          <p:nvPr/>
        </p:nvSpPr>
        <p:spPr>
          <a:xfrm>
            <a:off x="623887" y="3250194"/>
            <a:ext cx="2483763" cy="1969770"/>
          </a:xfrm>
          <a:prstGeom prst="rect">
            <a:avLst/>
          </a:prstGeom>
          <a:noFill/>
        </p:spPr>
        <p:txBody>
          <a:bodyPr wrap="square" lIns="18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consetetur sadipscing elitr, sed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diam nonumy eirmod tempor invidunt ut labore et dolore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magna aliquyam erat, sed diam voluptua. At vero eos et accusam </a:t>
            </a:r>
            <a:br>
              <a:rPr lang="de-DE" sz="1200" dirty="0">
                <a:solidFill>
                  <a:schemeClr val="tx1">
                    <a:lumMod val="100000"/>
                  </a:schemeClr>
                </a:solidFill>
                <a:ea typeface="Akkurat LL" panose="020B0504020101010102" pitchFamily="34" charset="-126"/>
                <a:cs typeface="Akkurat LL" panose="020B0504020101010102" pitchFamily="34" charset="-126"/>
              </a:rPr>
            </a:br>
            <a:r>
              <a:rPr lang="de-DE" sz="1200" dirty="0">
                <a:solidFill>
                  <a:schemeClr val="tx1">
                    <a:lumMod val="100000"/>
                  </a:schemeClr>
                </a:solidFill>
                <a:ea typeface="Akkurat LL" panose="020B0504020101010102" pitchFamily="34" charset="-126"/>
                <a:cs typeface="Akkurat LL" panose="020B0504020101010102" pitchFamily="34" charset="-126"/>
              </a:rPr>
              <a:t>et justo duo dolores et ea rebum. Stet clita kasd gubergren</a:t>
            </a:r>
          </a:p>
        </p:txBody>
      </p:sp>
      <p:sp>
        <p:nvSpPr>
          <p:cNvPr id="51" name="Textfeld 50">
            <a:extLst>
              <a:ext uri="{FF2B5EF4-FFF2-40B4-BE49-F238E27FC236}">
                <a16:creationId xmlns:a16="http://schemas.microsoft.com/office/drawing/2014/main" id="{F86A8C2B-5EAD-03A6-F57B-2F9EB303BA08}"/>
              </a:ext>
            </a:extLst>
          </p:cNvPr>
          <p:cNvSpPr txBox="1">
            <a:spLocks/>
          </p:cNvSpPr>
          <p:nvPr/>
        </p:nvSpPr>
        <p:spPr>
          <a:xfrm>
            <a:off x="3396176"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2" name="Textfeld 51">
            <a:extLst>
              <a:ext uri="{FF2B5EF4-FFF2-40B4-BE49-F238E27FC236}">
                <a16:creationId xmlns:a16="http://schemas.microsoft.com/office/drawing/2014/main" id="{868B29BE-7DA2-AF53-33D6-DB859BBFAE5F}"/>
              </a:ext>
            </a:extLst>
          </p:cNvPr>
          <p:cNvSpPr txBox="1">
            <a:spLocks/>
          </p:cNvSpPr>
          <p:nvPr/>
        </p:nvSpPr>
        <p:spPr>
          <a:xfrm>
            <a:off x="6168463"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sp>
        <p:nvSpPr>
          <p:cNvPr id="53" name="Textfeld 52">
            <a:extLst>
              <a:ext uri="{FF2B5EF4-FFF2-40B4-BE49-F238E27FC236}">
                <a16:creationId xmlns:a16="http://schemas.microsoft.com/office/drawing/2014/main" id="{A8B40D3E-1946-5B4E-79B0-5B4FC3AA0B68}"/>
              </a:ext>
            </a:extLst>
          </p:cNvPr>
          <p:cNvSpPr txBox="1">
            <a:spLocks/>
          </p:cNvSpPr>
          <p:nvPr/>
        </p:nvSpPr>
        <p:spPr>
          <a:xfrm>
            <a:off x="8940751" y="3250194"/>
            <a:ext cx="2483763" cy="1969770"/>
          </a:xfrm>
          <a:prstGeom prst="rect">
            <a:avLst/>
          </a:prstGeom>
          <a:noFill/>
        </p:spPr>
        <p:txBody>
          <a:bodyPr wrap="square" lIns="360000" tIns="0" rIns="0" bIns="0" rtlCol="0">
            <a:noAutofit/>
          </a:bodyPr>
          <a:lstStyle/>
          <a:p>
            <a:r>
              <a:rPr lang="da-DK" sz="1600" b="1" dirty="0">
                <a:solidFill>
                  <a:schemeClr val="tx1">
                    <a:lumMod val="100000"/>
                  </a:schemeClr>
                </a:solidFill>
                <a:ea typeface="Akkurat LL" panose="020B0504020101010102" pitchFamily="34" charset="-126"/>
                <a:cs typeface="Akkurat LL" panose="020B0504020101010102" pitchFamily="34" charset="-126"/>
              </a:rPr>
              <a:t>Lorem ipsum dolor </a:t>
            </a:r>
            <a:br>
              <a:rPr lang="da-DK" sz="1600" b="1" dirty="0">
                <a:solidFill>
                  <a:schemeClr val="tx1">
                    <a:lumMod val="100000"/>
                  </a:schemeClr>
                </a:solidFill>
                <a:ea typeface="Akkurat LL" panose="020B0504020101010102" pitchFamily="34" charset="-126"/>
                <a:cs typeface="Akkurat LL" panose="020B0504020101010102" pitchFamily="34" charset="-126"/>
              </a:rPr>
            </a:br>
            <a:r>
              <a:rPr lang="da-DK" sz="1600" b="1" dirty="0">
                <a:solidFill>
                  <a:schemeClr val="tx1">
                    <a:lumMod val="100000"/>
                  </a:schemeClr>
                </a:solidFill>
                <a:ea typeface="Akkurat LL" panose="020B0504020101010102" pitchFamily="34" charset="-126"/>
                <a:cs typeface="Akkurat LL" panose="020B0504020101010102" pitchFamily="34" charset="-126"/>
              </a:rPr>
              <a:t>sit amet</a:t>
            </a:r>
          </a:p>
          <a:p>
            <a:r>
              <a:rPr lang="de-DE" sz="1200" dirty="0">
                <a:solidFill>
                  <a:schemeClr val="tx1">
                    <a:lumMod val="100000"/>
                  </a:schemeClr>
                </a:solidFill>
                <a:ea typeface="Akkurat LL" panose="020B0504020101010102" pitchFamily="34" charset="-126"/>
                <a:cs typeface="Akkurat LL" panose="020B0504020101010102" pitchFamily="34" charset="-126"/>
              </a:rPr>
              <a:t>Lorem ipsum dolor sit amet, consetetur sadipscing elitr, sed diam nonumy eirmod tempor invidunt ut labore et dolore magna aliquyam erat, sed diam voluptua. At vero eos et accusam et justo duo dolores et ea rebum. Stet clita kasd gubergren</a:t>
            </a:r>
          </a:p>
        </p:txBody>
      </p:sp>
      <p:grpSp>
        <p:nvGrpSpPr>
          <p:cNvPr id="58" name="Gruppieren 57">
            <a:extLst>
              <a:ext uri="{FF2B5EF4-FFF2-40B4-BE49-F238E27FC236}">
                <a16:creationId xmlns:a16="http://schemas.microsoft.com/office/drawing/2014/main" id="{A2DB0F24-DC51-93A5-FD94-3D8636C36D56}"/>
              </a:ext>
            </a:extLst>
          </p:cNvPr>
          <p:cNvGrpSpPr/>
          <p:nvPr/>
        </p:nvGrpSpPr>
        <p:grpSpPr>
          <a:xfrm>
            <a:off x="3396176" y="2673751"/>
            <a:ext cx="5544575" cy="2754775"/>
            <a:chOff x="3396176" y="2673752"/>
            <a:chExt cx="5544575" cy="2534856"/>
          </a:xfrm>
        </p:grpSpPr>
        <p:cxnSp>
          <p:nvCxnSpPr>
            <p:cNvPr id="55" name="Gerader Verbinder 54">
              <a:extLst>
                <a:ext uri="{FF2B5EF4-FFF2-40B4-BE49-F238E27FC236}">
                  <a16:creationId xmlns:a16="http://schemas.microsoft.com/office/drawing/2014/main" id="{FBF7A151-1291-074D-D9DF-0D97D68C52CF}"/>
                </a:ext>
              </a:extLst>
            </p:cNvPr>
            <p:cNvCxnSpPr>
              <a:cxnSpLocks/>
            </p:cNvCxnSpPr>
            <p:nvPr/>
          </p:nvCxnSpPr>
          <p:spPr>
            <a:xfrm>
              <a:off x="3396176"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96CAE10-5B0F-1341-1F22-E25EF7445DA4}"/>
                </a:ext>
              </a:extLst>
            </p:cNvPr>
            <p:cNvCxnSpPr>
              <a:cxnSpLocks/>
            </p:cNvCxnSpPr>
            <p:nvPr/>
          </p:nvCxnSpPr>
          <p:spPr>
            <a:xfrm>
              <a:off x="6168463"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FD05C3A5-6CFA-4E40-6959-6765FB10426D}"/>
                </a:ext>
              </a:extLst>
            </p:cNvPr>
            <p:cNvCxnSpPr>
              <a:cxnSpLocks/>
            </p:cNvCxnSpPr>
            <p:nvPr/>
          </p:nvCxnSpPr>
          <p:spPr>
            <a:xfrm>
              <a:off x="8940751" y="2673752"/>
              <a:ext cx="0" cy="253485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28759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297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1/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4</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EA056528-E46A-4DA8-85E3-F5D5B8C309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45" name="Grafik 44">
            <a:extLst>
              <a:ext uri="{FF2B5EF4-FFF2-40B4-BE49-F238E27FC236}">
                <a16:creationId xmlns:a16="http://schemas.microsoft.com/office/drawing/2014/main" id="{E83CA95E-372D-AD04-F349-6460393BCE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67" name="Grafik 66">
            <a:extLst>
              <a:ext uri="{FF2B5EF4-FFF2-40B4-BE49-F238E27FC236}">
                <a16:creationId xmlns:a16="http://schemas.microsoft.com/office/drawing/2014/main" id="{75BBF9B5-B44F-A689-7B9F-AF6CFFFCBC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69" name="Grafik 68">
            <a:extLst>
              <a:ext uri="{FF2B5EF4-FFF2-40B4-BE49-F238E27FC236}">
                <a16:creationId xmlns:a16="http://schemas.microsoft.com/office/drawing/2014/main" id="{83D6DA15-1587-D5EE-22E7-BBAB2057E4F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71" name="Grafik 70">
            <a:extLst>
              <a:ext uri="{FF2B5EF4-FFF2-40B4-BE49-F238E27FC236}">
                <a16:creationId xmlns:a16="http://schemas.microsoft.com/office/drawing/2014/main" id="{3D5CB60F-BA17-AF4C-8948-71B0EF541BB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75" name="Grafik 74">
            <a:extLst>
              <a:ext uri="{FF2B5EF4-FFF2-40B4-BE49-F238E27FC236}">
                <a16:creationId xmlns:a16="http://schemas.microsoft.com/office/drawing/2014/main" id="{26E13723-20E3-3F10-E363-D7DA72C605D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79" name="Grafik 78">
            <a:extLst>
              <a:ext uri="{FF2B5EF4-FFF2-40B4-BE49-F238E27FC236}">
                <a16:creationId xmlns:a16="http://schemas.microsoft.com/office/drawing/2014/main" id="{83CABB0F-A64B-547B-DC9E-A76D2560F99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5" name="Grafik 84">
            <a:extLst>
              <a:ext uri="{FF2B5EF4-FFF2-40B4-BE49-F238E27FC236}">
                <a16:creationId xmlns:a16="http://schemas.microsoft.com/office/drawing/2014/main" id="{AB37979C-D23A-8838-866E-B0E6E61C86F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9" name="Grafik 88">
            <a:extLst>
              <a:ext uri="{FF2B5EF4-FFF2-40B4-BE49-F238E27FC236}">
                <a16:creationId xmlns:a16="http://schemas.microsoft.com/office/drawing/2014/main" id="{F50BDCC8-7C3E-70E6-D2F0-4558F0F6379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91" name="Grafik 90">
            <a:extLst>
              <a:ext uri="{FF2B5EF4-FFF2-40B4-BE49-F238E27FC236}">
                <a16:creationId xmlns:a16="http://schemas.microsoft.com/office/drawing/2014/main" id="{30C183E6-9F50-3AE9-6CFD-43D5F114A42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5" name="Grafik 94">
            <a:extLst>
              <a:ext uri="{FF2B5EF4-FFF2-40B4-BE49-F238E27FC236}">
                <a16:creationId xmlns:a16="http://schemas.microsoft.com/office/drawing/2014/main" id="{DD72078F-89B4-A179-8D8F-5B43FCD98C4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7" name="Grafik 96">
            <a:extLst>
              <a:ext uri="{FF2B5EF4-FFF2-40B4-BE49-F238E27FC236}">
                <a16:creationId xmlns:a16="http://schemas.microsoft.com/office/drawing/2014/main" id="{BA1470ED-45AD-FA5F-1CEE-A61D60AD35D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9" name="Grafik 98">
            <a:extLst>
              <a:ext uri="{FF2B5EF4-FFF2-40B4-BE49-F238E27FC236}">
                <a16:creationId xmlns:a16="http://schemas.microsoft.com/office/drawing/2014/main" id="{73FC26FE-8AA0-34AC-45FA-4F4D25801FE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101" name="Grafik 100">
            <a:extLst>
              <a:ext uri="{FF2B5EF4-FFF2-40B4-BE49-F238E27FC236}">
                <a16:creationId xmlns:a16="http://schemas.microsoft.com/office/drawing/2014/main" id="{0777164A-982D-08CD-0912-2E020B27785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3" name="Grafik 102">
            <a:extLst>
              <a:ext uri="{FF2B5EF4-FFF2-40B4-BE49-F238E27FC236}">
                <a16:creationId xmlns:a16="http://schemas.microsoft.com/office/drawing/2014/main" id="{F622FBDA-766D-FDC7-1CEA-AFFD6137729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5" name="Grafik 104">
            <a:extLst>
              <a:ext uri="{FF2B5EF4-FFF2-40B4-BE49-F238E27FC236}">
                <a16:creationId xmlns:a16="http://schemas.microsoft.com/office/drawing/2014/main" id="{71838B58-9568-C4E1-569B-044EFBFA875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7" name="Grafik 106">
            <a:extLst>
              <a:ext uri="{FF2B5EF4-FFF2-40B4-BE49-F238E27FC236}">
                <a16:creationId xmlns:a16="http://schemas.microsoft.com/office/drawing/2014/main" id="{2E77BB61-01C8-0C4D-A7CA-29F38CED35F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9" name="Grafik 108">
            <a:extLst>
              <a:ext uri="{FF2B5EF4-FFF2-40B4-BE49-F238E27FC236}">
                <a16:creationId xmlns:a16="http://schemas.microsoft.com/office/drawing/2014/main" id="{7530B4CE-3124-6C0A-36DC-408C0161571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11" name="Grafik 110">
            <a:extLst>
              <a:ext uri="{FF2B5EF4-FFF2-40B4-BE49-F238E27FC236}">
                <a16:creationId xmlns:a16="http://schemas.microsoft.com/office/drawing/2014/main" id="{52A209F6-DFF9-3D11-3923-20DDF80A0ADD}"/>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3" name="Grafik 112">
            <a:extLst>
              <a:ext uri="{FF2B5EF4-FFF2-40B4-BE49-F238E27FC236}">
                <a16:creationId xmlns:a16="http://schemas.microsoft.com/office/drawing/2014/main" id="{D7BB1FA1-06BA-013D-7EA3-84C017E4AF0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5" name="Grafik 114">
            <a:extLst>
              <a:ext uri="{FF2B5EF4-FFF2-40B4-BE49-F238E27FC236}">
                <a16:creationId xmlns:a16="http://schemas.microsoft.com/office/drawing/2014/main" id="{D7BE77C4-1FB7-B904-2395-AFC63F77B87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9" name="Grafik 118">
            <a:extLst>
              <a:ext uri="{FF2B5EF4-FFF2-40B4-BE49-F238E27FC236}">
                <a16:creationId xmlns:a16="http://schemas.microsoft.com/office/drawing/2014/main" id="{1B47B8D9-F60B-A719-866E-EDF4BECE77F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21" name="Grafik 120">
            <a:extLst>
              <a:ext uri="{FF2B5EF4-FFF2-40B4-BE49-F238E27FC236}">
                <a16:creationId xmlns:a16="http://schemas.microsoft.com/office/drawing/2014/main" id="{D66DA8F0-5F3A-80D7-383E-9AE4237A01B6}"/>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7" name="Grafik 126">
            <a:extLst>
              <a:ext uri="{FF2B5EF4-FFF2-40B4-BE49-F238E27FC236}">
                <a16:creationId xmlns:a16="http://schemas.microsoft.com/office/drawing/2014/main" id="{F0F16974-96FD-870D-F6C6-FF1DC509722A}"/>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31" name="Grafik 130">
            <a:extLst>
              <a:ext uri="{FF2B5EF4-FFF2-40B4-BE49-F238E27FC236}">
                <a16:creationId xmlns:a16="http://schemas.microsoft.com/office/drawing/2014/main" id="{A413CEF3-30BF-6E00-4744-ADE72316A02A}"/>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35" name="Grafik 134">
            <a:extLst>
              <a:ext uri="{FF2B5EF4-FFF2-40B4-BE49-F238E27FC236}">
                <a16:creationId xmlns:a16="http://schemas.microsoft.com/office/drawing/2014/main" id="{BA89565F-844D-4770-F317-2F3C0DBD8B94}"/>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37" name="Grafik 136">
            <a:extLst>
              <a:ext uri="{FF2B5EF4-FFF2-40B4-BE49-F238E27FC236}">
                <a16:creationId xmlns:a16="http://schemas.microsoft.com/office/drawing/2014/main" id="{996468A7-F97B-1D1A-85F5-EE9B5818546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9" name="Grafik 138">
            <a:extLst>
              <a:ext uri="{FF2B5EF4-FFF2-40B4-BE49-F238E27FC236}">
                <a16:creationId xmlns:a16="http://schemas.microsoft.com/office/drawing/2014/main" id="{C05EED64-A841-4447-D405-8F89CD0C4E37}"/>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41" name="Grafik 140">
            <a:extLst>
              <a:ext uri="{FF2B5EF4-FFF2-40B4-BE49-F238E27FC236}">
                <a16:creationId xmlns:a16="http://schemas.microsoft.com/office/drawing/2014/main" id="{D3BE012F-370A-F115-0C06-735241D180F6}"/>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43" name="Grafik 142">
            <a:extLst>
              <a:ext uri="{FF2B5EF4-FFF2-40B4-BE49-F238E27FC236}">
                <a16:creationId xmlns:a16="http://schemas.microsoft.com/office/drawing/2014/main" id="{33B496EC-B049-3142-5AD7-72F3E9CB5A80}"/>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45" name="Grafik 144">
            <a:extLst>
              <a:ext uri="{FF2B5EF4-FFF2-40B4-BE49-F238E27FC236}">
                <a16:creationId xmlns:a16="http://schemas.microsoft.com/office/drawing/2014/main" id="{1912983B-191D-6E0F-93B5-DF5E9C4B9992}"/>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65" name="Grafik 164">
            <a:extLst>
              <a:ext uri="{FF2B5EF4-FFF2-40B4-BE49-F238E27FC236}">
                <a16:creationId xmlns:a16="http://schemas.microsoft.com/office/drawing/2014/main" id="{D10AC388-F9AF-A138-0AAB-A1C61B2C609E}"/>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39886369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16860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2/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5</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47" name="Grafik 146">
            <a:extLst>
              <a:ext uri="{FF2B5EF4-FFF2-40B4-BE49-F238E27FC236}">
                <a16:creationId xmlns:a16="http://schemas.microsoft.com/office/drawing/2014/main" id="{B31B297F-8034-3B27-9DED-7446466D5A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51" name="Grafik 150">
            <a:extLst>
              <a:ext uri="{FF2B5EF4-FFF2-40B4-BE49-F238E27FC236}">
                <a16:creationId xmlns:a16="http://schemas.microsoft.com/office/drawing/2014/main" id="{DD586843-132B-7A0B-4F09-1ED4B3CF89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155" name="Grafik 154">
            <a:extLst>
              <a:ext uri="{FF2B5EF4-FFF2-40B4-BE49-F238E27FC236}">
                <a16:creationId xmlns:a16="http://schemas.microsoft.com/office/drawing/2014/main" id="{88E1CB05-8ABD-4E1B-C389-258890509A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8545" y="1773238"/>
            <a:ext cx="952500" cy="952500"/>
          </a:xfrm>
          <a:prstGeom prst="rect">
            <a:avLst/>
          </a:prstGeom>
        </p:spPr>
      </p:pic>
      <p:pic>
        <p:nvPicPr>
          <p:cNvPr id="157" name="Grafik 156">
            <a:extLst>
              <a:ext uri="{FF2B5EF4-FFF2-40B4-BE49-F238E27FC236}">
                <a16:creationId xmlns:a16="http://schemas.microsoft.com/office/drawing/2014/main" id="{A4FCC364-296B-55A2-B857-5D5A70B8C6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67210" y="1773238"/>
            <a:ext cx="952500" cy="952500"/>
          </a:xfrm>
          <a:prstGeom prst="rect">
            <a:avLst/>
          </a:prstGeom>
        </p:spPr>
      </p:pic>
      <p:pic>
        <p:nvPicPr>
          <p:cNvPr id="159" name="Grafik 158">
            <a:extLst>
              <a:ext uri="{FF2B5EF4-FFF2-40B4-BE49-F238E27FC236}">
                <a16:creationId xmlns:a16="http://schemas.microsoft.com/office/drawing/2014/main" id="{9EC8F469-8C5E-1B9B-8D45-97562EEB73D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35874" y="1773238"/>
            <a:ext cx="952500" cy="952500"/>
          </a:xfrm>
          <a:prstGeom prst="rect">
            <a:avLst/>
          </a:prstGeom>
        </p:spPr>
      </p:pic>
      <p:pic>
        <p:nvPicPr>
          <p:cNvPr id="161" name="Grafik 160">
            <a:extLst>
              <a:ext uri="{FF2B5EF4-FFF2-40B4-BE49-F238E27FC236}">
                <a16:creationId xmlns:a16="http://schemas.microsoft.com/office/drawing/2014/main" id="{6BCA0D47-BE10-4A07-692B-52F4C6A186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904538" y="1773238"/>
            <a:ext cx="952500" cy="952500"/>
          </a:xfrm>
          <a:prstGeom prst="rect">
            <a:avLst/>
          </a:prstGeom>
        </p:spPr>
      </p:pic>
      <p:pic>
        <p:nvPicPr>
          <p:cNvPr id="163" name="Grafik 162">
            <a:extLst>
              <a:ext uri="{FF2B5EF4-FFF2-40B4-BE49-F238E27FC236}">
                <a16:creationId xmlns:a16="http://schemas.microsoft.com/office/drawing/2014/main" id="{29946E94-9A1B-0A68-F491-E0ADA83B55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23888" y="2907771"/>
            <a:ext cx="952500" cy="952500"/>
          </a:xfrm>
          <a:prstGeom prst="rect">
            <a:avLst/>
          </a:prstGeom>
        </p:spPr>
      </p:pic>
      <p:pic>
        <p:nvPicPr>
          <p:cNvPr id="9" name="Grafik 8">
            <a:extLst>
              <a:ext uri="{FF2B5EF4-FFF2-40B4-BE49-F238E27FC236}">
                <a16:creationId xmlns:a16="http://schemas.microsoft.com/office/drawing/2014/main" id="{D3F878E5-7A22-6786-90C8-42DB933C3E7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092552" y="2907771"/>
            <a:ext cx="952500" cy="952500"/>
          </a:xfrm>
          <a:prstGeom prst="rect">
            <a:avLst/>
          </a:prstGeom>
        </p:spPr>
      </p:pic>
      <p:pic>
        <p:nvPicPr>
          <p:cNvPr id="17" name="Grafik 16">
            <a:extLst>
              <a:ext uri="{FF2B5EF4-FFF2-40B4-BE49-F238E27FC236}">
                <a16:creationId xmlns:a16="http://schemas.microsoft.com/office/drawing/2014/main" id="{4E64629A-0BD1-EABB-6FFA-FAAEEF8356F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21" name="Grafik 20">
            <a:extLst>
              <a:ext uri="{FF2B5EF4-FFF2-40B4-BE49-F238E27FC236}">
                <a16:creationId xmlns:a16="http://schemas.microsoft.com/office/drawing/2014/main" id="{2B2CDB28-A674-9928-B829-3E6FD0C5210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29881" y="2907771"/>
            <a:ext cx="952500" cy="952500"/>
          </a:xfrm>
          <a:prstGeom prst="rect">
            <a:avLst/>
          </a:prstGeom>
        </p:spPr>
      </p:pic>
      <p:pic>
        <p:nvPicPr>
          <p:cNvPr id="23" name="Grafik 22">
            <a:extLst>
              <a:ext uri="{FF2B5EF4-FFF2-40B4-BE49-F238E27FC236}">
                <a16:creationId xmlns:a16="http://schemas.microsoft.com/office/drawing/2014/main" id="{E5DB03B3-F893-9FB8-479C-00AAD0E8B1D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98545" y="2907771"/>
            <a:ext cx="952500" cy="952500"/>
          </a:xfrm>
          <a:prstGeom prst="rect">
            <a:avLst/>
          </a:prstGeom>
        </p:spPr>
      </p:pic>
      <p:pic>
        <p:nvPicPr>
          <p:cNvPr id="27" name="Grafik 26">
            <a:extLst>
              <a:ext uri="{FF2B5EF4-FFF2-40B4-BE49-F238E27FC236}">
                <a16:creationId xmlns:a16="http://schemas.microsoft.com/office/drawing/2014/main" id="{7638E0D3-E318-ABE3-1D6D-3C3A420C51B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67210" y="2907771"/>
            <a:ext cx="952500" cy="952500"/>
          </a:xfrm>
          <a:prstGeom prst="rect">
            <a:avLst/>
          </a:prstGeom>
        </p:spPr>
      </p:pic>
      <p:pic>
        <p:nvPicPr>
          <p:cNvPr id="29" name="Grafik 28">
            <a:extLst>
              <a:ext uri="{FF2B5EF4-FFF2-40B4-BE49-F238E27FC236}">
                <a16:creationId xmlns:a16="http://schemas.microsoft.com/office/drawing/2014/main" id="{EF99CE55-AFB6-15CC-9141-99D3A9EBAB6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435874" y="2907771"/>
            <a:ext cx="952500" cy="952500"/>
          </a:xfrm>
          <a:prstGeom prst="rect">
            <a:avLst/>
          </a:prstGeom>
        </p:spPr>
      </p:pic>
      <p:pic>
        <p:nvPicPr>
          <p:cNvPr id="39" name="Grafik 38">
            <a:extLst>
              <a:ext uri="{FF2B5EF4-FFF2-40B4-BE49-F238E27FC236}">
                <a16:creationId xmlns:a16="http://schemas.microsoft.com/office/drawing/2014/main" id="{458ABC4C-7D08-DC2D-E6A4-EE2A9421B78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904538" y="2907771"/>
            <a:ext cx="952500" cy="952500"/>
          </a:xfrm>
          <a:prstGeom prst="rect">
            <a:avLst/>
          </a:prstGeom>
        </p:spPr>
      </p:pic>
      <p:pic>
        <p:nvPicPr>
          <p:cNvPr id="41" name="Grafik 40">
            <a:extLst>
              <a:ext uri="{FF2B5EF4-FFF2-40B4-BE49-F238E27FC236}">
                <a16:creationId xmlns:a16="http://schemas.microsoft.com/office/drawing/2014/main" id="{5531965A-AC75-5381-C8E1-A04C78BB1A8D}"/>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23888" y="4042304"/>
            <a:ext cx="952500" cy="952500"/>
          </a:xfrm>
          <a:prstGeom prst="rect">
            <a:avLst/>
          </a:prstGeom>
        </p:spPr>
      </p:pic>
      <p:pic>
        <p:nvPicPr>
          <p:cNvPr id="57" name="Grafik 56">
            <a:extLst>
              <a:ext uri="{FF2B5EF4-FFF2-40B4-BE49-F238E27FC236}">
                <a16:creationId xmlns:a16="http://schemas.microsoft.com/office/drawing/2014/main" id="{7FABB8B9-466A-FE1D-7BA6-1168CD93C7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092552" y="4042304"/>
            <a:ext cx="952500" cy="952500"/>
          </a:xfrm>
          <a:prstGeom prst="rect">
            <a:avLst/>
          </a:prstGeom>
        </p:spPr>
      </p:pic>
      <p:pic>
        <p:nvPicPr>
          <p:cNvPr id="61" name="Grafik 60">
            <a:extLst>
              <a:ext uri="{FF2B5EF4-FFF2-40B4-BE49-F238E27FC236}">
                <a16:creationId xmlns:a16="http://schemas.microsoft.com/office/drawing/2014/main" id="{DDC251A7-FAC2-D280-7A16-F12FB8DECD1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561217" y="4042304"/>
            <a:ext cx="952500" cy="952500"/>
          </a:xfrm>
          <a:prstGeom prst="rect">
            <a:avLst/>
          </a:prstGeom>
        </p:spPr>
      </p:pic>
      <p:pic>
        <p:nvPicPr>
          <p:cNvPr id="63" name="Grafik 62">
            <a:extLst>
              <a:ext uri="{FF2B5EF4-FFF2-40B4-BE49-F238E27FC236}">
                <a16:creationId xmlns:a16="http://schemas.microsoft.com/office/drawing/2014/main" id="{9C4D58D7-F436-E247-2637-331EA8A5FA5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029881" y="4042304"/>
            <a:ext cx="952500" cy="952500"/>
          </a:xfrm>
          <a:prstGeom prst="rect">
            <a:avLst/>
          </a:prstGeom>
        </p:spPr>
      </p:pic>
      <p:pic>
        <p:nvPicPr>
          <p:cNvPr id="65" name="Grafik 64">
            <a:extLst>
              <a:ext uri="{FF2B5EF4-FFF2-40B4-BE49-F238E27FC236}">
                <a16:creationId xmlns:a16="http://schemas.microsoft.com/office/drawing/2014/main" id="{7612934A-7A42-8357-2F52-263C7E77F3E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498545" y="4042304"/>
            <a:ext cx="952500" cy="952500"/>
          </a:xfrm>
          <a:prstGeom prst="rect">
            <a:avLst/>
          </a:prstGeom>
        </p:spPr>
      </p:pic>
      <p:pic>
        <p:nvPicPr>
          <p:cNvPr id="72" name="Grafik 71">
            <a:extLst>
              <a:ext uri="{FF2B5EF4-FFF2-40B4-BE49-F238E27FC236}">
                <a16:creationId xmlns:a16="http://schemas.microsoft.com/office/drawing/2014/main" id="{8D978062-925A-7864-AAC2-0ADA8787897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67210" y="4042304"/>
            <a:ext cx="952500" cy="952500"/>
          </a:xfrm>
          <a:prstGeom prst="rect">
            <a:avLst/>
          </a:prstGeom>
        </p:spPr>
      </p:pic>
      <p:pic>
        <p:nvPicPr>
          <p:cNvPr id="100" name="Grafik 99">
            <a:extLst>
              <a:ext uri="{FF2B5EF4-FFF2-40B4-BE49-F238E27FC236}">
                <a16:creationId xmlns:a16="http://schemas.microsoft.com/office/drawing/2014/main" id="{0094B813-CB05-BA5B-7EBF-1D7D689873FE}"/>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435874" y="4042304"/>
            <a:ext cx="952500" cy="952500"/>
          </a:xfrm>
          <a:prstGeom prst="rect">
            <a:avLst/>
          </a:prstGeom>
        </p:spPr>
      </p:pic>
      <p:pic>
        <p:nvPicPr>
          <p:cNvPr id="118" name="Grafik 117">
            <a:extLst>
              <a:ext uri="{FF2B5EF4-FFF2-40B4-BE49-F238E27FC236}">
                <a16:creationId xmlns:a16="http://schemas.microsoft.com/office/drawing/2014/main" id="{4CC2BAEC-6EA7-A2C0-3115-132FA8C1EB66}"/>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0904538" y="4042304"/>
            <a:ext cx="952500" cy="952500"/>
          </a:xfrm>
          <a:prstGeom prst="rect">
            <a:avLst/>
          </a:prstGeom>
        </p:spPr>
      </p:pic>
      <p:pic>
        <p:nvPicPr>
          <p:cNvPr id="134" name="Grafik 133">
            <a:extLst>
              <a:ext uri="{FF2B5EF4-FFF2-40B4-BE49-F238E27FC236}">
                <a16:creationId xmlns:a16="http://schemas.microsoft.com/office/drawing/2014/main" id="{016B3EA1-7744-1C13-048F-59CC60C045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623888" y="5176838"/>
            <a:ext cx="952500" cy="952500"/>
          </a:xfrm>
          <a:prstGeom prst="rect">
            <a:avLst/>
          </a:prstGeom>
        </p:spPr>
      </p:pic>
      <p:pic>
        <p:nvPicPr>
          <p:cNvPr id="146" name="Grafik 145">
            <a:extLst>
              <a:ext uri="{FF2B5EF4-FFF2-40B4-BE49-F238E27FC236}">
                <a16:creationId xmlns:a16="http://schemas.microsoft.com/office/drawing/2014/main" id="{39CA9DCB-78DB-D09A-80E4-0F262960C766}"/>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2092552" y="5176838"/>
            <a:ext cx="952500" cy="952500"/>
          </a:xfrm>
          <a:prstGeom prst="rect">
            <a:avLst/>
          </a:prstGeom>
        </p:spPr>
      </p:pic>
      <p:pic>
        <p:nvPicPr>
          <p:cNvPr id="162" name="Grafik 161">
            <a:extLst>
              <a:ext uri="{FF2B5EF4-FFF2-40B4-BE49-F238E27FC236}">
                <a16:creationId xmlns:a16="http://schemas.microsoft.com/office/drawing/2014/main" id="{D6ACB17B-EAF1-9B6F-07D4-36F1B1B723A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561217" y="5176838"/>
            <a:ext cx="952500" cy="952500"/>
          </a:xfrm>
          <a:prstGeom prst="rect">
            <a:avLst/>
          </a:prstGeom>
        </p:spPr>
      </p:pic>
      <p:pic>
        <p:nvPicPr>
          <p:cNvPr id="173" name="Grafik 172">
            <a:extLst>
              <a:ext uri="{FF2B5EF4-FFF2-40B4-BE49-F238E27FC236}">
                <a16:creationId xmlns:a16="http://schemas.microsoft.com/office/drawing/2014/main" id="{CD7267ED-1233-7201-0111-2B57B950E4EB}"/>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5029881" y="5176838"/>
            <a:ext cx="952500" cy="952500"/>
          </a:xfrm>
          <a:prstGeom prst="rect">
            <a:avLst/>
          </a:prstGeom>
        </p:spPr>
      </p:pic>
      <p:pic>
        <p:nvPicPr>
          <p:cNvPr id="177" name="Grafik 176">
            <a:extLst>
              <a:ext uri="{FF2B5EF4-FFF2-40B4-BE49-F238E27FC236}">
                <a16:creationId xmlns:a16="http://schemas.microsoft.com/office/drawing/2014/main" id="{3EDE9CDE-53AF-5AC3-C9C4-F1B0197E2A16}"/>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6498545" y="5176838"/>
            <a:ext cx="952500" cy="952500"/>
          </a:xfrm>
          <a:prstGeom prst="rect">
            <a:avLst/>
          </a:prstGeom>
        </p:spPr>
      </p:pic>
      <p:pic>
        <p:nvPicPr>
          <p:cNvPr id="187" name="Grafik 186">
            <a:extLst>
              <a:ext uri="{FF2B5EF4-FFF2-40B4-BE49-F238E27FC236}">
                <a16:creationId xmlns:a16="http://schemas.microsoft.com/office/drawing/2014/main" id="{5FA33F70-DF88-0502-D7D9-BCE6C8A9116D}"/>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7967210" y="5176838"/>
            <a:ext cx="952500" cy="952500"/>
          </a:xfrm>
          <a:prstGeom prst="rect">
            <a:avLst/>
          </a:prstGeom>
        </p:spPr>
      </p:pic>
      <p:pic>
        <p:nvPicPr>
          <p:cNvPr id="189" name="Grafik 188">
            <a:extLst>
              <a:ext uri="{FF2B5EF4-FFF2-40B4-BE49-F238E27FC236}">
                <a16:creationId xmlns:a16="http://schemas.microsoft.com/office/drawing/2014/main" id="{FFF2CABD-6F2B-9C1E-8798-7C1A81A967A4}"/>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9435874" y="5176838"/>
            <a:ext cx="952500" cy="952500"/>
          </a:xfrm>
          <a:prstGeom prst="rect">
            <a:avLst/>
          </a:prstGeom>
        </p:spPr>
      </p:pic>
      <p:pic>
        <p:nvPicPr>
          <p:cNvPr id="195" name="Grafik 194">
            <a:extLst>
              <a:ext uri="{FF2B5EF4-FFF2-40B4-BE49-F238E27FC236}">
                <a16:creationId xmlns:a16="http://schemas.microsoft.com/office/drawing/2014/main" id="{FB901737-2D58-E44D-7815-938199AF23E4}"/>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0904538" y="5176838"/>
            <a:ext cx="952500" cy="952500"/>
          </a:xfrm>
          <a:prstGeom prst="rect">
            <a:avLst/>
          </a:prstGeom>
        </p:spPr>
      </p:pic>
      <p:pic>
        <p:nvPicPr>
          <p:cNvPr id="197" name="Grafik 196">
            <a:extLst>
              <a:ext uri="{FF2B5EF4-FFF2-40B4-BE49-F238E27FC236}">
                <a16:creationId xmlns:a16="http://schemas.microsoft.com/office/drawing/2014/main" id="{5DC5E47A-CF3A-CC3A-A6C1-AA619A263DF5}"/>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2092552" y="1773238"/>
            <a:ext cx="952500" cy="952500"/>
          </a:xfrm>
          <a:prstGeom prst="rect">
            <a:avLst/>
          </a:prstGeom>
        </p:spPr>
      </p:pic>
      <p:pic>
        <p:nvPicPr>
          <p:cNvPr id="198" name="Grafik 197">
            <a:extLst>
              <a:ext uri="{FF2B5EF4-FFF2-40B4-BE49-F238E27FC236}">
                <a16:creationId xmlns:a16="http://schemas.microsoft.com/office/drawing/2014/main" id="{698B438F-2ED0-1BE6-9F9A-F46D72829B7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5029881" y="1773238"/>
            <a:ext cx="952500" cy="952500"/>
          </a:xfrm>
          <a:prstGeom prst="rect">
            <a:avLst/>
          </a:prstGeom>
        </p:spPr>
      </p:pic>
    </p:spTree>
    <p:extLst>
      <p:ext uri="{BB962C8B-B14F-4D97-AF65-F5344CB8AC3E}">
        <p14:creationId xmlns:p14="http://schemas.microsoft.com/office/powerpoint/2010/main" val="19329490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45010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3/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6</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2" name="Grafik 11">
            <a:extLst>
              <a:ext uri="{FF2B5EF4-FFF2-40B4-BE49-F238E27FC236}">
                <a16:creationId xmlns:a16="http://schemas.microsoft.com/office/drawing/2014/main" id="{A882AE24-BBD6-44A0-709C-3B42CD9618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67" name="Grafik 166">
            <a:extLst>
              <a:ext uri="{FF2B5EF4-FFF2-40B4-BE49-F238E27FC236}">
                <a16:creationId xmlns:a16="http://schemas.microsoft.com/office/drawing/2014/main" id="{814193B7-7001-9750-805E-51C9164D52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1217" y="1773238"/>
            <a:ext cx="952500" cy="952500"/>
          </a:xfrm>
          <a:prstGeom prst="rect">
            <a:avLst/>
          </a:prstGeom>
        </p:spPr>
      </p:pic>
      <p:pic>
        <p:nvPicPr>
          <p:cNvPr id="51" name="Grafik 50">
            <a:extLst>
              <a:ext uri="{FF2B5EF4-FFF2-40B4-BE49-F238E27FC236}">
                <a16:creationId xmlns:a16="http://schemas.microsoft.com/office/drawing/2014/main" id="{5F6507BF-475A-A6E9-00B4-CB0A87FB3F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29881" y="1773238"/>
            <a:ext cx="952500" cy="952500"/>
          </a:xfrm>
          <a:prstGeom prst="rect">
            <a:avLst/>
          </a:prstGeom>
        </p:spPr>
      </p:pic>
      <p:pic>
        <p:nvPicPr>
          <p:cNvPr id="58" name="Grafik 57">
            <a:extLst>
              <a:ext uri="{FF2B5EF4-FFF2-40B4-BE49-F238E27FC236}">
                <a16:creationId xmlns:a16="http://schemas.microsoft.com/office/drawing/2014/main" id="{9760DE62-AE36-3DA1-383F-991E106430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8545" y="1773238"/>
            <a:ext cx="952500" cy="952500"/>
          </a:xfrm>
          <a:prstGeom prst="rect">
            <a:avLst/>
          </a:prstGeom>
        </p:spPr>
      </p:pic>
      <p:pic>
        <p:nvPicPr>
          <p:cNvPr id="60" name="Grafik 59">
            <a:extLst>
              <a:ext uri="{FF2B5EF4-FFF2-40B4-BE49-F238E27FC236}">
                <a16:creationId xmlns:a16="http://schemas.microsoft.com/office/drawing/2014/main" id="{4CC81D68-4DE5-74C5-4B91-A8A7D5688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67210" y="1773238"/>
            <a:ext cx="952500" cy="952500"/>
          </a:xfrm>
          <a:prstGeom prst="rect">
            <a:avLst/>
          </a:prstGeom>
        </p:spPr>
      </p:pic>
      <p:pic>
        <p:nvPicPr>
          <p:cNvPr id="67" name="Grafik 66">
            <a:extLst>
              <a:ext uri="{FF2B5EF4-FFF2-40B4-BE49-F238E27FC236}">
                <a16:creationId xmlns:a16="http://schemas.microsoft.com/office/drawing/2014/main" id="{036E8779-208E-E173-2E03-1D690EEE56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5874" y="1773238"/>
            <a:ext cx="952500" cy="952500"/>
          </a:xfrm>
          <a:prstGeom prst="rect">
            <a:avLst/>
          </a:prstGeom>
        </p:spPr>
      </p:pic>
      <p:pic>
        <p:nvPicPr>
          <p:cNvPr id="69" name="Grafik 68">
            <a:extLst>
              <a:ext uri="{FF2B5EF4-FFF2-40B4-BE49-F238E27FC236}">
                <a16:creationId xmlns:a16="http://schemas.microsoft.com/office/drawing/2014/main" id="{8291D89E-6561-81F6-59E2-B86F16B05CB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80" name="Grafik 79">
            <a:extLst>
              <a:ext uri="{FF2B5EF4-FFF2-40B4-BE49-F238E27FC236}">
                <a16:creationId xmlns:a16="http://schemas.microsoft.com/office/drawing/2014/main" id="{682A642A-020D-E4FE-0CAC-AD19886F951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82" name="Grafik 81">
            <a:extLst>
              <a:ext uri="{FF2B5EF4-FFF2-40B4-BE49-F238E27FC236}">
                <a16:creationId xmlns:a16="http://schemas.microsoft.com/office/drawing/2014/main" id="{F61E55D9-B6A1-B14B-CC63-794945C610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092552" y="2907771"/>
            <a:ext cx="952500" cy="952500"/>
          </a:xfrm>
          <a:prstGeom prst="rect">
            <a:avLst/>
          </a:prstGeom>
        </p:spPr>
      </p:pic>
      <p:pic>
        <p:nvPicPr>
          <p:cNvPr id="86" name="Grafik 85">
            <a:extLst>
              <a:ext uri="{FF2B5EF4-FFF2-40B4-BE49-F238E27FC236}">
                <a16:creationId xmlns:a16="http://schemas.microsoft.com/office/drawing/2014/main" id="{842C45E3-088A-A428-2FEE-9668BCEF23C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61217" y="2907771"/>
            <a:ext cx="952500" cy="952500"/>
          </a:xfrm>
          <a:prstGeom prst="rect">
            <a:avLst/>
          </a:prstGeom>
        </p:spPr>
      </p:pic>
      <p:pic>
        <p:nvPicPr>
          <p:cNvPr id="92" name="Grafik 91">
            <a:extLst>
              <a:ext uri="{FF2B5EF4-FFF2-40B4-BE49-F238E27FC236}">
                <a16:creationId xmlns:a16="http://schemas.microsoft.com/office/drawing/2014/main" id="{4D598D98-824C-1E02-3F4C-0AD263BA071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029881" y="2907771"/>
            <a:ext cx="952500" cy="952500"/>
          </a:xfrm>
          <a:prstGeom prst="rect">
            <a:avLst/>
          </a:prstGeom>
        </p:spPr>
      </p:pic>
      <p:pic>
        <p:nvPicPr>
          <p:cNvPr id="94" name="Grafik 93">
            <a:extLst>
              <a:ext uri="{FF2B5EF4-FFF2-40B4-BE49-F238E27FC236}">
                <a16:creationId xmlns:a16="http://schemas.microsoft.com/office/drawing/2014/main" id="{8932C473-6CBD-8053-C902-790E0B78244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98545" y="2907771"/>
            <a:ext cx="952500" cy="952500"/>
          </a:xfrm>
          <a:prstGeom prst="rect">
            <a:avLst/>
          </a:prstGeom>
        </p:spPr>
      </p:pic>
      <p:pic>
        <p:nvPicPr>
          <p:cNvPr id="96" name="Grafik 95">
            <a:extLst>
              <a:ext uri="{FF2B5EF4-FFF2-40B4-BE49-F238E27FC236}">
                <a16:creationId xmlns:a16="http://schemas.microsoft.com/office/drawing/2014/main" id="{4CDE166D-7673-691E-3135-89A69B021CB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967210" y="2907771"/>
            <a:ext cx="952500" cy="952500"/>
          </a:xfrm>
          <a:prstGeom prst="rect">
            <a:avLst/>
          </a:prstGeom>
        </p:spPr>
      </p:pic>
      <p:pic>
        <p:nvPicPr>
          <p:cNvPr id="98" name="Grafik 97">
            <a:extLst>
              <a:ext uri="{FF2B5EF4-FFF2-40B4-BE49-F238E27FC236}">
                <a16:creationId xmlns:a16="http://schemas.microsoft.com/office/drawing/2014/main" id="{B2CCF375-9670-9AA2-D894-D689D836BAE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435874" y="2907771"/>
            <a:ext cx="952500" cy="952500"/>
          </a:xfrm>
          <a:prstGeom prst="rect">
            <a:avLst/>
          </a:prstGeom>
        </p:spPr>
      </p:pic>
      <p:pic>
        <p:nvPicPr>
          <p:cNvPr id="101" name="Grafik 100">
            <a:extLst>
              <a:ext uri="{FF2B5EF4-FFF2-40B4-BE49-F238E27FC236}">
                <a16:creationId xmlns:a16="http://schemas.microsoft.com/office/drawing/2014/main" id="{D4A2B700-E5C2-DCD7-5549-317431F9509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904538" y="2907771"/>
            <a:ext cx="952500" cy="952500"/>
          </a:xfrm>
          <a:prstGeom prst="rect">
            <a:avLst/>
          </a:prstGeom>
        </p:spPr>
      </p:pic>
      <p:pic>
        <p:nvPicPr>
          <p:cNvPr id="103" name="Grafik 102">
            <a:extLst>
              <a:ext uri="{FF2B5EF4-FFF2-40B4-BE49-F238E27FC236}">
                <a16:creationId xmlns:a16="http://schemas.microsoft.com/office/drawing/2014/main" id="{CF0D15A8-2DD6-51E9-5078-0D1B823EF2A4}"/>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23888" y="4042304"/>
            <a:ext cx="952500" cy="952500"/>
          </a:xfrm>
          <a:prstGeom prst="rect">
            <a:avLst/>
          </a:prstGeom>
        </p:spPr>
      </p:pic>
      <p:pic>
        <p:nvPicPr>
          <p:cNvPr id="105" name="Grafik 104">
            <a:extLst>
              <a:ext uri="{FF2B5EF4-FFF2-40B4-BE49-F238E27FC236}">
                <a16:creationId xmlns:a16="http://schemas.microsoft.com/office/drawing/2014/main" id="{00507741-E5E6-236F-30A5-2F002C59CDDB}"/>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107" name="Grafik 106">
            <a:extLst>
              <a:ext uri="{FF2B5EF4-FFF2-40B4-BE49-F238E27FC236}">
                <a16:creationId xmlns:a16="http://schemas.microsoft.com/office/drawing/2014/main" id="{A3036847-16A8-B9CB-6D57-C27297328475}"/>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61217" y="4042304"/>
            <a:ext cx="952500" cy="952500"/>
          </a:xfrm>
          <a:prstGeom prst="rect">
            <a:avLst/>
          </a:prstGeom>
        </p:spPr>
      </p:pic>
      <p:pic>
        <p:nvPicPr>
          <p:cNvPr id="109" name="Grafik 108">
            <a:extLst>
              <a:ext uri="{FF2B5EF4-FFF2-40B4-BE49-F238E27FC236}">
                <a16:creationId xmlns:a16="http://schemas.microsoft.com/office/drawing/2014/main" id="{75C4A0E6-AFA5-0A04-2696-29C5C0D5023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029881" y="4042304"/>
            <a:ext cx="952500" cy="952500"/>
          </a:xfrm>
          <a:prstGeom prst="rect">
            <a:avLst/>
          </a:prstGeom>
        </p:spPr>
      </p:pic>
      <p:pic>
        <p:nvPicPr>
          <p:cNvPr id="111" name="Grafik 110">
            <a:extLst>
              <a:ext uri="{FF2B5EF4-FFF2-40B4-BE49-F238E27FC236}">
                <a16:creationId xmlns:a16="http://schemas.microsoft.com/office/drawing/2014/main" id="{9751277A-C4D3-7145-85F5-0BFC3218FE7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498545" y="4042304"/>
            <a:ext cx="952500" cy="952500"/>
          </a:xfrm>
          <a:prstGeom prst="rect">
            <a:avLst/>
          </a:prstGeom>
        </p:spPr>
      </p:pic>
      <p:pic>
        <p:nvPicPr>
          <p:cNvPr id="113" name="Grafik 112">
            <a:extLst>
              <a:ext uri="{FF2B5EF4-FFF2-40B4-BE49-F238E27FC236}">
                <a16:creationId xmlns:a16="http://schemas.microsoft.com/office/drawing/2014/main" id="{C82F515A-F788-FFBE-061A-FE824BAEDAC9}"/>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7967210" y="4042304"/>
            <a:ext cx="952500" cy="952500"/>
          </a:xfrm>
          <a:prstGeom prst="rect">
            <a:avLst/>
          </a:prstGeom>
        </p:spPr>
      </p:pic>
      <p:pic>
        <p:nvPicPr>
          <p:cNvPr id="115" name="Grafik 114">
            <a:extLst>
              <a:ext uri="{FF2B5EF4-FFF2-40B4-BE49-F238E27FC236}">
                <a16:creationId xmlns:a16="http://schemas.microsoft.com/office/drawing/2014/main" id="{B89A3BCF-91B8-3476-63BD-05EDAE61AC8C}"/>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435874" y="4042304"/>
            <a:ext cx="952500" cy="952500"/>
          </a:xfrm>
          <a:prstGeom prst="rect">
            <a:avLst/>
          </a:prstGeom>
        </p:spPr>
      </p:pic>
      <p:pic>
        <p:nvPicPr>
          <p:cNvPr id="117" name="Grafik 116">
            <a:extLst>
              <a:ext uri="{FF2B5EF4-FFF2-40B4-BE49-F238E27FC236}">
                <a16:creationId xmlns:a16="http://schemas.microsoft.com/office/drawing/2014/main" id="{7E767658-1D17-A9EC-0B49-FB4D0719BC3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904538" y="4042304"/>
            <a:ext cx="952500" cy="952500"/>
          </a:xfrm>
          <a:prstGeom prst="rect">
            <a:avLst/>
          </a:prstGeom>
        </p:spPr>
      </p:pic>
      <p:pic>
        <p:nvPicPr>
          <p:cNvPr id="120" name="Grafik 119">
            <a:extLst>
              <a:ext uri="{FF2B5EF4-FFF2-40B4-BE49-F238E27FC236}">
                <a16:creationId xmlns:a16="http://schemas.microsoft.com/office/drawing/2014/main" id="{400505D1-A157-B764-F008-4D7E4EAC126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23888" y="5176838"/>
            <a:ext cx="952500" cy="952500"/>
          </a:xfrm>
          <a:prstGeom prst="rect">
            <a:avLst/>
          </a:prstGeom>
        </p:spPr>
      </p:pic>
      <p:pic>
        <p:nvPicPr>
          <p:cNvPr id="124" name="Grafik 123">
            <a:extLst>
              <a:ext uri="{FF2B5EF4-FFF2-40B4-BE49-F238E27FC236}">
                <a16:creationId xmlns:a16="http://schemas.microsoft.com/office/drawing/2014/main" id="{21D80407-7F06-A279-44E5-C3F72A3FD91F}"/>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92552" y="5176838"/>
            <a:ext cx="952500" cy="952500"/>
          </a:xfrm>
          <a:prstGeom prst="rect">
            <a:avLst/>
          </a:prstGeom>
        </p:spPr>
      </p:pic>
      <p:pic>
        <p:nvPicPr>
          <p:cNvPr id="126" name="Grafik 125">
            <a:extLst>
              <a:ext uri="{FF2B5EF4-FFF2-40B4-BE49-F238E27FC236}">
                <a16:creationId xmlns:a16="http://schemas.microsoft.com/office/drawing/2014/main" id="{DF1CC930-6D86-0F06-86A2-20F93B58F3B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561217" y="5176838"/>
            <a:ext cx="952500" cy="952500"/>
          </a:xfrm>
          <a:prstGeom prst="rect">
            <a:avLst/>
          </a:prstGeom>
        </p:spPr>
      </p:pic>
      <p:pic>
        <p:nvPicPr>
          <p:cNvPr id="128" name="Grafik 127">
            <a:extLst>
              <a:ext uri="{FF2B5EF4-FFF2-40B4-BE49-F238E27FC236}">
                <a16:creationId xmlns:a16="http://schemas.microsoft.com/office/drawing/2014/main" id="{76A8494F-5A3C-5B4B-75F6-A8356E41AED3}"/>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5029881" y="5176838"/>
            <a:ext cx="952500" cy="952500"/>
          </a:xfrm>
          <a:prstGeom prst="rect">
            <a:avLst/>
          </a:prstGeom>
        </p:spPr>
      </p:pic>
      <p:pic>
        <p:nvPicPr>
          <p:cNvPr id="130" name="Grafik 129">
            <a:extLst>
              <a:ext uri="{FF2B5EF4-FFF2-40B4-BE49-F238E27FC236}">
                <a16:creationId xmlns:a16="http://schemas.microsoft.com/office/drawing/2014/main" id="{E7AB1A87-674E-1671-561C-9296383AEA73}"/>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6498545" y="5176838"/>
            <a:ext cx="952500" cy="952500"/>
          </a:xfrm>
          <a:prstGeom prst="rect">
            <a:avLst/>
          </a:prstGeom>
        </p:spPr>
      </p:pic>
      <p:pic>
        <p:nvPicPr>
          <p:cNvPr id="132" name="Grafik 131">
            <a:extLst>
              <a:ext uri="{FF2B5EF4-FFF2-40B4-BE49-F238E27FC236}">
                <a16:creationId xmlns:a16="http://schemas.microsoft.com/office/drawing/2014/main" id="{5932A20C-B432-F7B3-18AF-F75851A0562C}"/>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7967210" y="5176838"/>
            <a:ext cx="952500" cy="952500"/>
          </a:xfrm>
          <a:prstGeom prst="rect">
            <a:avLst/>
          </a:prstGeom>
        </p:spPr>
      </p:pic>
      <p:pic>
        <p:nvPicPr>
          <p:cNvPr id="135" name="Grafik 134">
            <a:extLst>
              <a:ext uri="{FF2B5EF4-FFF2-40B4-BE49-F238E27FC236}">
                <a16:creationId xmlns:a16="http://schemas.microsoft.com/office/drawing/2014/main" id="{780B3893-5FA1-A26A-D34E-45242C9797A9}"/>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435874" y="5176838"/>
            <a:ext cx="952500" cy="952500"/>
          </a:xfrm>
          <a:prstGeom prst="rect">
            <a:avLst/>
          </a:prstGeom>
        </p:spPr>
      </p:pic>
      <p:pic>
        <p:nvPicPr>
          <p:cNvPr id="137" name="Grafik 136">
            <a:extLst>
              <a:ext uri="{FF2B5EF4-FFF2-40B4-BE49-F238E27FC236}">
                <a16:creationId xmlns:a16="http://schemas.microsoft.com/office/drawing/2014/main" id="{1957AE1B-4CEC-9AE1-FA69-BFF0533C6AF1}"/>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904538" y="5176838"/>
            <a:ext cx="952500" cy="952500"/>
          </a:xfrm>
          <a:prstGeom prst="rect">
            <a:avLst/>
          </a:prstGeom>
        </p:spPr>
      </p:pic>
      <p:pic>
        <p:nvPicPr>
          <p:cNvPr id="175" name="Grafik 174">
            <a:extLst>
              <a:ext uri="{FF2B5EF4-FFF2-40B4-BE49-F238E27FC236}">
                <a16:creationId xmlns:a16="http://schemas.microsoft.com/office/drawing/2014/main" id="{905D4B98-2D94-ABF4-0713-09274C72376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2092552" y="1773238"/>
            <a:ext cx="952500" cy="952500"/>
          </a:xfrm>
          <a:prstGeom prst="rect">
            <a:avLst/>
          </a:prstGeom>
        </p:spPr>
      </p:pic>
    </p:spTree>
    <p:extLst>
      <p:ext uri="{BB962C8B-B14F-4D97-AF65-F5344CB8AC3E}">
        <p14:creationId xmlns:p14="http://schemas.microsoft.com/office/powerpoint/2010/main" val="42049420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424228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4/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7</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0D107288-091C-6A8F-7F67-BF15772648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7928961C-16EA-4386-1132-ED4C3E8B35D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5" name="Grafik 14">
            <a:extLst>
              <a:ext uri="{FF2B5EF4-FFF2-40B4-BE49-F238E27FC236}">
                <a16:creationId xmlns:a16="http://schemas.microsoft.com/office/drawing/2014/main" id="{8EBB0BF1-2B41-7B52-2CBC-C47C2ED146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17" name="Grafik 16">
            <a:extLst>
              <a:ext uri="{FF2B5EF4-FFF2-40B4-BE49-F238E27FC236}">
                <a16:creationId xmlns:a16="http://schemas.microsoft.com/office/drawing/2014/main" id="{07421DCF-5484-2D56-5807-A758503BAA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19" name="Grafik 18">
            <a:extLst>
              <a:ext uri="{FF2B5EF4-FFF2-40B4-BE49-F238E27FC236}">
                <a16:creationId xmlns:a16="http://schemas.microsoft.com/office/drawing/2014/main" id="{AF20B482-94BE-BBFF-32BF-5E1189CF48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5" name="Grafik 24">
            <a:extLst>
              <a:ext uri="{FF2B5EF4-FFF2-40B4-BE49-F238E27FC236}">
                <a16:creationId xmlns:a16="http://schemas.microsoft.com/office/drawing/2014/main" id="{5F8D77AE-DCB6-48AE-325D-4D8C1F52884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9" name="Grafik 28">
            <a:extLst>
              <a:ext uri="{FF2B5EF4-FFF2-40B4-BE49-F238E27FC236}">
                <a16:creationId xmlns:a16="http://schemas.microsoft.com/office/drawing/2014/main" id="{E6C82D42-C551-0FE5-1DD3-B3B328475F7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2" name="Grafik 31">
            <a:extLst>
              <a:ext uri="{FF2B5EF4-FFF2-40B4-BE49-F238E27FC236}">
                <a16:creationId xmlns:a16="http://schemas.microsoft.com/office/drawing/2014/main" id="{2C1A75EB-25F3-6F16-70D6-10C8BF2381A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38" name="Grafik 37">
            <a:extLst>
              <a:ext uri="{FF2B5EF4-FFF2-40B4-BE49-F238E27FC236}">
                <a16:creationId xmlns:a16="http://schemas.microsoft.com/office/drawing/2014/main" id="{2F0C103E-9F54-E721-91D0-4C09BC27A36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0" name="Grafik 39">
            <a:extLst>
              <a:ext uri="{FF2B5EF4-FFF2-40B4-BE49-F238E27FC236}">
                <a16:creationId xmlns:a16="http://schemas.microsoft.com/office/drawing/2014/main" id="{C1F344A9-37C4-0191-4BA3-59E126BE06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42" name="Grafik 41">
            <a:extLst>
              <a:ext uri="{FF2B5EF4-FFF2-40B4-BE49-F238E27FC236}">
                <a16:creationId xmlns:a16="http://schemas.microsoft.com/office/drawing/2014/main" id="{93DC2B92-899D-F47B-9A01-1F5C31120F7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44" name="Grafik 43">
            <a:extLst>
              <a:ext uri="{FF2B5EF4-FFF2-40B4-BE49-F238E27FC236}">
                <a16:creationId xmlns:a16="http://schemas.microsoft.com/office/drawing/2014/main" id="{3C8F8D2F-3342-9769-1F70-5BB91B8B188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46" name="Grafik 45">
            <a:extLst>
              <a:ext uri="{FF2B5EF4-FFF2-40B4-BE49-F238E27FC236}">
                <a16:creationId xmlns:a16="http://schemas.microsoft.com/office/drawing/2014/main" id="{77C95C1F-94A7-5CB0-BC58-3E15DA664DE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48" name="Grafik 47">
            <a:extLst>
              <a:ext uri="{FF2B5EF4-FFF2-40B4-BE49-F238E27FC236}">
                <a16:creationId xmlns:a16="http://schemas.microsoft.com/office/drawing/2014/main" id="{EB54443D-A570-4E0C-D340-8789060F604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50" name="Grafik 49">
            <a:extLst>
              <a:ext uri="{FF2B5EF4-FFF2-40B4-BE49-F238E27FC236}">
                <a16:creationId xmlns:a16="http://schemas.microsoft.com/office/drawing/2014/main" id="{6F986FB0-A73B-C1C4-7E40-410A6964726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55" name="Grafik 54">
            <a:extLst>
              <a:ext uri="{FF2B5EF4-FFF2-40B4-BE49-F238E27FC236}">
                <a16:creationId xmlns:a16="http://schemas.microsoft.com/office/drawing/2014/main" id="{786662DF-CB62-3D9E-BBC4-99C7500DD8E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3" name="Grafik 62">
            <a:extLst>
              <a:ext uri="{FF2B5EF4-FFF2-40B4-BE49-F238E27FC236}">
                <a16:creationId xmlns:a16="http://schemas.microsoft.com/office/drawing/2014/main" id="{5601C580-0AE3-478E-C9CA-03F0A634AA9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92552" y="4042304"/>
            <a:ext cx="952500" cy="952500"/>
          </a:xfrm>
          <a:prstGeom prst="rect">
            <a:avLst/>
          </a:prstGeom>
        </p:spPr>
      </p:pic>
      <p:pic>
        <p:nvPicPr>
          <p:cNvPr id="65" name="Grafik 64">
            <a:extLst>
              <a:ext uri="{FF2B5EF4-FFF2-40B4-BE49-F238E27FC236}">
                <a16:creationId xmlns:a16="http://schemas.microsoft.com/office/drawing/2014/main" id="{54C67A16-99FD-E4D9-4A32-396689CB2C1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23888" y="4042304"/>
            <a:ext cx="952500" cy="952500"/>
          </a:xfrm>
          <a:prstGeom prst="rect">
            <a:avLst/>
          </a:prstGeom>
        </p:spPr>
      </p:pic>
      <p:pic>
        <p:nvPicPr>
          <p:cNvPr id="77" name="Grafik 76">
            <a:extLst>
              <a:ext uri="{FF2B5EF4-FFF2-40B4-BE49-F238E27FC236}">
                <a16:creationId xmlns:a16="http://schemas.microsoft.com/office/drawing/2014/main" id="{4FF0C249-1483-0C21-27B7-9B8D108C43B6}"/>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8404A546-F5BF-53E9-8100-D7C2F6805D15}"/>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3" name="Grafik 82">
            <a:extLst>
              <a:ext uri="{FF2B5EF4-FFF2-40B4-BE49-F238E27FC236}">
                <a16:creationId xmlns:a16="http://schemas.microsoft.com/office/drawing/2014/main" id="{7DD348C3-AB1E-35DE-03BE-90CEFB86D8EC}"/>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E624DBA8-D19F-39FF-52C2-3DB07724F844}"/>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EA8C7C3E-75F5-869F-8484-5C0B61176413}"/>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0BD2161B-02D2-E581-CF4A-7BFC77FB7351}"/>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0" name="Grafik 99">
            <a:extLst>
              <a:ext uri="{FF2B5EF4-FFF2-40B4-BE49-F238E27FC236}">
                <a16:creationId xmlns:a16="http://schemas.microsoft.com/office/drawing/2014/main" id="{BAF4DE07-D891-29F1-0162-E3ACE2852C88}"/>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E4AB82D8-0FAB-5AB6-20D9-0A6AF6116BC1}"/>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9D341EE1-59C3-9ECF-62A8-4418BB0BC5C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3B2C6085-9CD8-0681-43DF-8188E943907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EC2B3271-154A-879D-CDFE-6E5394565E65}"/>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9" name="Grafik 118">
            <a:extLst>
              <a:ext uri="{FF2B5EF4-FFF2-40B4-BE49-F238E27FC236}">
                <a16:creationId xmlns:a16="http://schemas.microsoft.com/office/drawing/2014/main" id="{7F89FE3D-3C7C-DADA-064B-75243FD17DE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5" name="Grafik 124">
            <a:extLst>
              <a:ext uri="{FF2B5EF4-FFF2-40B4-BE49-F238E27FC236}">
                <a16:creationId xmlns:a16="http://schemas.microsoft.com/office/drawing/2014/main" id="{49A68F50-15B4-6CD0-BFC4-3A8DDE6A9EFC}"/>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29" name="Grafik 128">
            <a:extLst>
              <a:ext uri="{FF2B5EF4-FFF2-40B4-BE49-F238E27FC236}">
                <a16:creationId xmlns:a16="http://schemas.microsoft.com/office/drawing/2014/main" id="{C6F5F7E8-EE57-903E-ED85-F7EF22E93555}"/>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2097143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54839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5/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8</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1" name="Grafik 10">
            <a:extLst>
              <a:ext uri="{FF2B5EF4-FFF2-40B4-BE49-F238E27FC236}">
                <a16:creationId xmlns:a16="http://schemas.microsoft.com/office/drawing/2014/main" id="{DD211EC9-58FC-9BB3-8D56-97F3BCA856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E3F13A75-17AC-9E68-5157-A8D17C8FE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85BD6969-5D61-2F38-D368-896C2FAED0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9344E46F-8286-2C87-261F-419F596627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3" name="Grafik 22">
            <a:extLst>
              <a:ext uri="{FF2B5EF4-FFF2-40B4-BE49-F238E27FC236}">
                <a16:creationId xmlns:a16="http://schemas.microsoft.com/office/drawing/2014/main" id="{B3AA8895-75CF-B662-E546-D33B5258C7A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6" name="Grafik 25">
            <a:extLst>
              <a:ext uri="{FF2B5EF4-FFF2-40B4-BE49-F238E27FC236}">
                <a16:creationId xmlns:a16="http://schemas.microsoft.com/office/drawing/2014/main" id="{08E366B5-063E-7B33-D937-9AF9445945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28" name="Grafik 27">
            <a:extLst>
              <a:ext uri="{FF2B5EF4-FFF2-40B4-BE49-F238E27FC236}">
                <a16:creationId xmlns:a16="http://schemas.microsoft.com/office/drawing/2014/main" id="{5DF11032-AA35-EEB9-00C9-3A8E63F7D5B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04538" y="1773238"/>
            <a:ext cx="952500" cy="952500"/>
          </a:xfrm>
          <a:prstGeom prst="rect">
            <a:avLst/>
          </a:prstGeom>
        </p:spPr>
      </p:pic>
      <p:pic>
        <p:nvPicPr>
          <p:cNvPr id="31" name="Grafik 30">
            <a:extLst>
              <a:ext uri="{FF2B5EF4-FFF2-40B4-BE49-F238E27FC236}">
                <a16:creationId xmlns:a16="http://schemas.microsoft.com/office/drawing/2014/main" id="{68799355-A47F-DBE5-64C9-9A5BC79CBB4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3888" y="2907771"/>
            <a:ext cx="952500" cy="952500"/>
          </a:xfrm>
          <a:prstGeom prst="rect">
            <a:avLst/>
          </a:prstGeom>
        </p:spPr>
      </p:pic>
      <p:pic>
        <p:nvPicPr>
          <p:cNvPr id="34" name="Grafik 33">
            <a:extLst>
              <a:ext uri="{FF2B5EF4-FFF2-40B4-BE49-F238E27FC236}">
                <a16:creationId xmlns:a16="http://schemas.microsoft.com/office/drawing/2014/main" id="{F9F774AC-6396-166D-3A28-1BE8AEBCC7B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561217" y="2907771"/>
            <a:ext cx="952500" cy="952500"/>
          </a:xfrm>
          <a:prstGeom prst="rect">
            <a:avLst/>
          </a:prstGeom>
        </p:spPr>
      </p:pic>
      <p:pic>
        <p:nvPicPr>
          <p:cNvPr id="36" name="Grafik 35">
            <a:extLst>
              <a:ext uri="{FF2B5EF4-FFF2-40B4-BE49-F238E27FC236}">
                <a16:creationId xmlns:a16="http://schemas.microsoft.com/office/drawing/2014/main" id="{C4471059-6D38-716E-A6B0-BFA3BC62907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62025"/>
          </a:xfrm>
          <a:prstGeom prst="rect">
            <a:avLst/>
          </a:prstGeom>
        </p:spPr>
      </p:pic>
      <p:pic>
        <p:nvPicPr>
          <p:cNvPr id="39" name="Grafik 38">
            <a:extLst>
              <a:ext uri="{FF2B5EF4-FFF2-40B4-BE49-F238E27FC236}">
                <a16:creationId xmlns:a16="http://schemas.microsoft.com/office/drawing/2014/main" id="{4E56E6D1-1252-EC64-C3AF-CA815A67E57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35874" y="1773238"/>
            <a:ext cx="952500" cy="962025"/>
          </a:xfrm>
          <a:prstGeom prst="rect">
            <a:avLst/>
          </a:prstGeom>
        </p:spPr>
      </p:pic>
      <p:pic>
        <p:nvPicPr>
          <p:cNvPr id="43" name="Grafik 42">
            <a:extLst>
              <a:ext uri="{FF2B5EF4-FFF2-40B4-BE49-F238E27FC236}">
                <a16:creationId xmlns:a16="http://schemas.microsoft.com/office/drawing/2014/main" id="{72582AF3-3036-AF06-87A1-9B9ECEBB0E2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3" name="Grafik 52">
            <a:extLst>
              <a:ext uri="{FF2B5EF4-FFF2-40B4-BE49-F238E27FC236}">
                <a16:creationId xmlns:a16="http://schemas.microsoft.com/office/drawing/2014/main" id="{F4568006-78AD-82EA-197D-7FF6757FCEE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8" name="Grafik 57">
            <a:extLst>
              <a:ext uri="{FF2B5EF4-FFF2-40B4-BE49-F238E27FC236}">
                <a16:creationId xmlns:a16="http://schemas.microsoft.com/office/drawing/2014/main" id="{609AA4E4-E9E2-1097-DC61-AA067A010A7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0" name="Grafik 59">
            <a:extLst>
              <a:ext uri="{FF2B5EF4-FFF2-40B4-BE49-F238E27FC236}">
                <a16:creationId xmlns:a16="http://schemas.microsoft.com/office/drawing/2014/main" id="{81B05D44-302A-31BF-3672-2A5D23B5223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2" name="Grafik 61">
            <a:extLst>
              <a:ext uri="{FF2B5EF4-FFF2-40B4-BE49-F238E27FC236}">
                <a16:creationId xmlns:a16="http://schemas.microsoft.com/office/drawing/2014/main" id="{FD6E55FE-3A55-293C-29A0-377D1F4827A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6" name="Grafik 65">
            <a:extLst>
              <a:ext uri="{FF2B5EF4-FFF2-40B4-BE49-F238E27FC236}">
                <a16:creationId xmlns:a16="http://schemas.microsoft.com/office/drawing/2014/main" id="{0829762F-55C5-D133-85A0-77F6AD8B85C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68" name="Grafik 67">
            <a:extLst>
              <a:ext uri="{FF2B5EF4-FFF2-40B4-BE49-F238E27FC236}">
                <a16:creationId xmlns:a16="http://schemas.microsoft.com/office/drawing/2014/main" id="{8DBB1A4C-909C-65D5-DDB1-9AD00B2A719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4" name="Grafik 73">
            <a:extLst>
              <a:ext uri="{FF2B5EF4-FFF2-40B4-BE49-F238E27FC236}">
                <a16:creationId xmlns:a16="http://schemas.microsoft.com/office/drawing/2014/main" id="{28212724-3D22-A034-FA2B-3A89F6A8B3F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6" name="Grafik 75">
            <a:extLst>
              <a:ext uri="{FF2B5EF4-FFF2-40B4-BE49-F238E27FC236}">
                <a16:creationId xmlns:a16="http://schemas.microsoft.com/office/drawing/2014/main" id="{0DF21A91-FF66-4578-953F-6ACDC9427F44}"/>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0" name="Grafik 79">
            <a:extLst>
              <a:ext uri="{FF2B5EF4-FFF2-40B4-BE49-F238E27FC236}">
                <a16:creationId xmlns:a16="http://schemas.microsoft.com/office/drawing/2014/main" id="{7FBFA037-F212-3290-CA7F-641C001F5A1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2" name="Grafik 81">
            <a:extLst>
              <a:ext uri="{FF2B5EF4-FFF2-40B4-BE49-F238E27FC236}">
                <a16:creationId xmlns:a16="http://schemas.microsoft.com/office/drawing/2014/main" id="{0B3F086C-A995-8209-904D-D9FE92E193D5}"/>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85" name="Grafik 84">
            <a:extLst>
              <a:ext uri="{FF2B5EF4-FFF2-40B4-BE49-F238E27FC236}">
                <a16:creationId xmlns:a16="http://schemas.microsoft.com/office/drawing/2014/main" id="{D5E6E06C-2854-2C9F-65A6-0124A987AF4E}"/>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87" name="Grafik 86">
            <a:extLst>
              <a:ext uri="{FF2B5EF4-FFF2-40B4-BE49-F238E27FC236}">
                <a16:creationId xmlns:a16="http://schemas.microsoft.com/office/drawing/2014/main" id="{F7F2DE58-5F49-155E-99FF-B11B450B8155}"/>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0" name="Grafik 89">
            <a:extLst>
              <a:ext uri="{FF2B5EF4-FFF2-40B4-BE49-F238E27FC236}">
                <a16:creationId xmlns:a16="http://schemas.microsoft.com/office/drawing/2014/main" id="{63CBB43A-5A5E-CBA5-24A3-62F789A9F3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2" name="Grafik 91">
            <a:extLst>
              <a:ext uri="{FF2B5EF4-FFF2-40B4-BE49-F238E27FC236}">
                <a16:creationId xmlns:a16="http://schemas.microsoft.com/office/drawing/2014/main" id="{EE8ABB19-4A92-ACF4-71F4-B37BF86543C2}"/>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1" name="Grafik 100">
            <a:extLst>
              <a:ext uri="{FF2B5EF4-FFF2-40B4-BE49-F238E27FC236}">
                <a16:creationId xmlns:a16="http://schemas.microsoft.com/office/drawing/2014/main" id="{20D71888-81CA-8C47-8D06-88F880657939}"/>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4" name="Grafik 113">
            <a:extLst>
              <a:ext uri="{FF2B5EF4-FFF2-40B4-BE49-F238E27FC236}">
                <a16:creationId xmlns:a16="http://schemas.microsoft.com/office/drawing/2014/main" id="{1D99E251-27A4-64ED-515E-444628722DFC}"/>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7" name="Grafik 116">
            <a:extLst>
              <a:ext uri="{FF2B5EF4-FFF2-40B4-BE49-F238E27FC236}">
                <a16:creationId xmlns:a16="http://schemas.microsoft.com/office/drawing/2014/main" id="{2B9DC497-93DC-03AD-9D08-3EBFBE8FE51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27" name="Grafik 126">
            <a:extLst>
              <a:ext uri="{FF2B5EF4-FFF2-40B4-BE49-F238E27FC236}">
                <a16:creationId xmlns:a16="http://schemas.microsoft.com/office/drawing/2014/main" id="{D56044F7-E1DD-6286-A058-A711ED35D04F}"/>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30" name="Grafik 129">
            <a:extLst>
              <a:ext uri="{FF2B5EF4-FFF2-40B4-BE49-F238E27FC236}">
                <a16:creationId xmlns:a16="http://schemas.microsoft.com/office/drawing/2014/main" id="{D9D52F0F-ED10-BE98-12D2-593B4BC0C6E9}"/>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2" name="Grafik 131">
            <a:extLst>
              <a:ext uri="{FF2B5EF4-FFF2-40B4-BE49-F238E27FC236}">
                <a16:creationId xmlns:a16="http://schemas.microsoft.com/office/drawing/2014/main" id="{72D0BF23-3A92-D4BD-DD85-4C9C945256F7}"/>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25274293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335854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6/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49</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10" name="Grafik 9">
            <a:extLst>
              <a:ext uri="{FF2B5EF4-FFF2-40B4-BE49-F238E27FC236}">
                <a16:creationId xmlns:a16="http://schemas.microsoft.com/office/drawing/2014/main" id="{63FB2AA1-3F5A-8352-CBBB-9C32C0E123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3" name="Grafik 12">
            <a:extLst>
              <a:ext uri="{FF2B5EF4-FFF2-40B4-BE49-F238E27FC236}">
                <a16:creationId xmlns:a16="http://schemas.microsoft.com/office/drawing/2014/main" id="{12821DC6-BCF4-28F0-6A3D-EF1397ABBE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9" name="Grafik 18">
            <a:extLst>
              <a:ext uri="{FF2B5EF4-FFF2-40B4-BE49-F238E27FC236}">
                <a16:creationId xmlns:a16="http://schemas.microsoft.com/office/drawing/2014/main" id="{7D2CB9B5-FC46-FB34-B5DC-1C06368A53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2" name="Grafik 21">
            <a:extLst>
              <a:ext uri="{FF2B5EF4-FFF2-40B4-BE49-F238E27FC236}">
                <a16:creationId xmlns:a16="http://schemas.microsoft.com/office/drawing/2014/main" id="{62709590-5D39-0D9F-FC52-143D157CC9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5" name="Grafik 24">
            <a:extLst>
              <a:ext uri="{FF2B5EF4-FFF2-40B4-BE49-F238E27FC236}">
                <a16:creationId xmlns:a16="http://schemas.microsoft.com/office/drawing/2014/main" id="{51E21B0B-2BB4-86D0-01FA-9E48C91CF9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29" name="Grafik 28">
            <a:extLst>
              <a:ext uri="{FF2B5EF4-FFF2-40B4-BE49-F238E27FC236}">
                <a16:creationId xmlns:a16="http://schemas.microsoft.com/office/drawing/2014/main" id="{05B6A24C-488A-7535-FE7F-9A1860EBF3C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5" name="Grafik 34">
            <a:extLst>
              <a:ext uri="{FF2B5EF4-FFF2-40B4-BE49-F238E27FC236}">
                <a16:creationId xmlns:a16="http://schemas.microsoft.com/office/drawing/2014/main" id="{4F21C747-BA65-1A85-3DAE-F0FC8D9673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8" name="Grafik 37">
            <a:extLst>
              <a:ext uri="{FF2B5EF4-FFF2-40B4-BE49-F238E27FC236}">
                <a16:creationId xmlns:a16="http://schemas.microsoft.com/office/drawing/2014/main" id="{516C78BD-B89C-AEC3-C246-A854520CD3F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4" name="Grafik 43">
            <a:extLst>
              <a:ext uri="{FF2B5EF4-FFF2-40B4-BE49-F238E27FC236}">
                <a16:creationId xmlns:a16="http://schemas.microsoft.com/office/drawing/2014/main" id="{AA80F883-E6FB-8FD5-ADC5-3BE0726B8B7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6" name="Grafik 45">
            <a:extLst>
              <a:ext uri="{FF2B5EF4-FFF2-40B4-BE49-F238E27FC236}">
                <a16:creationId xmlns:a16="http://schemas.microsoft.com/office/drawing/2014/main" id="{80C5C6E0-0DEA-61E3-4A3F-0F5C5DEC0CB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0" name="Grafik 49">
            <a:extLst>
              <a:ext uri="{FF2B5EF4-FFF2-40B4-BE49-F238E27FC236}">
                <a16:creationId xmlns:a16="http://schemas.microsoft.com/office/drawing/2014/main" id="{7ECE6CCE-8390-5B73-9305-53640B7AE5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5" name="Grafik 54">
            <a:extLst>
              <a:ext uri="{FF2B5EF4-FFF2-40B4-BE49-F238E27FC236}">
                <a16:creationId xmlns:a16="http://schemas.microsoft.com/office/drawing/2014/main" id="{34AB30D1-D415-C659-ADD9-3960B1E4AB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7" name="Grafik 56">
            <a:extLst>
              <a:ext uri="{FF2B5EF4-FFF2-40B4-BE49-F238E27FC236}">
                <a16:creationId xmlns:a16="http://schemas.microsoft.com/office/drawing/2014/main" id="{41803A59-A286-9E3F-FA1E-0679D3BAB6ED}"/>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61" name="Grafik 60">
            <a:extLst>
              <a:ext uri="{FF2B5EF4-FFF2-40B4-BE49-F238E27FC236}">
                <a16:creationId xmlns:a16="http://schemas.microsoft.com/office/drawing/2014/main" id="{BF4240CE-92AE-908F-782D-9C34E176AB3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4" name="Grafik 63">
            <a:extLst>
              <a:ext uri="{FF2B5EF4-FFF2-40B4-BE49-F238E27FC236}">
                <a16:creationId xmlns:a16="http://schemas.microsoft.com/office/drawing/2014/main" id="{091536D8-71AE-0AAC-884D-64E519D34C1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7" name="Grafik 66">
            <a:extLst>
              <a:ext uri="{FF2B5EF4-FFF2-40B4-BE49-F238E27FC236}">
                <a16:creationId xmlns:a16="http://schemas.microsoft.com/office/drawing/2014/main" id="{E8E72017-AC22-8773-949C-419E4080A8CA}"/>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72" name="Grafik 71">
            <a:extLst>
              <a:ext uri="{FF2B5EF4-FFF2-40B4-BE49-F238E27FC236}">
                <a16:creationId xmlns:a16="http://schemas.microsoft.com/office/drawing/2014/main" id="{E261C9FC-AC6A-CDD3-7423-62A514EE6DB6}"/>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5" name="Grafik 74">
            <a:extLst>
              <a:ext uri="{FF2B5EF4-FFF2-40B4-BE49-F238E27FC236}">
                <a16:creationId xmlns:a16="http://schemas.microsoft.com/office/drawing/2014/main" id="{A63479DE-EAE8-16ED-B1DD-BEEC9345C0D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8" name="Grafik 77">
            <a:extLst>
              <a:ext uri="{FF2B5EF4-FFF2-40B4-BE49-F238E27FC236}">
                <a16:creationId xmlns:a16="http://schemas.microsoft.com/office/drawing/2014/main" id="{99C7460C-FB95-6067-F240-30406966679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81" name="Grafik 80">
            <a:extLst>
              <a:ext uri="{FF2B5EF4-FFF2-40B4-BE49-F238E27FC236}">
                <a16:creationId xmlns:a16="http://schemas.microsoft.com/office/drawing/2014/main" id="{8E414ADB-1335-7948-0A27-71FB0BA70B7D}"/>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4" name="Grafik 83">
            <a:extLst>
              <a:ext uri="{FF2B5EF4-FFF2-40B4-BE49-F238E27FC236}">
                <a16:creationId xmlns:a16="http://schemas.microsoft.com/office/drawing/2014/main" id="{14CA612C-6E72-8F5E-58D8-54F2E70BEFA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88" name="Grafik 87">
            <a:extLst>
              <a:ext uri="{FF2B5EF4-FFF2-40B4-BE49-F238E27FC236}">
                <a16:creationId xmlns:a16="http://schemas.microsoft.com/office/drawing/2014/main" id="{764B2C53-7E2D-F9DB-2003-C1D43F0DAA77}"/>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1" name="Grafik 90">
            <a:extLst>
              <a:ext uri="{FF2B5EF4-FFF2-40B4-BE49-F238E27FC236}">
                <a16:creationId xmlns:a16="http://schemas.microsoft.com/office/drawing/2014/main" id="{B11CD594-922F-AD58-0512-D5F674215907}"/>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4" name="Grafik 93">
            <a:extLst>
              <a:ext uri="{FF2B5EF4-FFF2-40B4-BE49-F238E27FC236}">
                <a16:creationId xmlns:a16="http://schemas.microsoft.com/office/drawing/2014/main" id="{519F922B-68A1-8CDC-B523-159903B93AA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96" name="Grafik 95">
            <a:extLst>
              <a:ext uri="{FF2B5EF4-FFF2-40B4-BE49-F238E27FC236}">
                <a16:creationId xmlns:a16="http://schemas.microsoft.com/office/drawing/2014/main" id="{72C79252-1E1C-C235-AFBD-94A45DD6891D}"/>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98" name="Grafik 97">
            <a:extLst>
              <a:ext uri="{FF2B5EF4-FFF2-40B4-BE49-F238E27FC236}">
                <a16:creationId xmlns:a16="http://schemas.microsoft.com/office/drawing/2014/main" id="{487014E5-40E4-2404-28A3-BF13F5CE119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0" name="Grafik 99">
            <a:extLst>
              <a:ext uri="{FF2B5EF4-FFF2-40B4-BE49-F238E27FC236}">
                <a16:creationId xmlns:a16="http://schemas.microsoft.com/office/drawing/2014/main" id="{1FE58056-0A83-D7EC-96B6-82D8D9F52E30}"/>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03" name="Grafik 102">
            <a:extLst>
              <a:ext uri="{FF2B5EF4-FFF2-40B4-BE49-F238E27FC236}">
                <a16:creationId xmlns:a16="http://schemas.microsoft.com/office/drawing/2014/main" id="{654AD8D8-6EF8-D30C-0CAE-07359AC33BEE}"/>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05" name="Grafik 104">
            <a:extLst>
              <a:ext uri="{FF2B5EF4-FFF2-40B4-BE49-F238E27FC236}">
                <a16:creationId xmlns:a16="http://schemas.microsoft.com/office/drawing/2014/main" id="{E0BF9EC9-2E44-EF86-1000-CD447BE0AF68}"/>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07" name="Grafik 106">
            <a:extLst>
              <a:ext uri="{FF2B5EF4-FFF2-40B4-BE49-F238E27FC236}">
                <a16:creationId xmlns:a16="http://schemas.microsoft.com/office/drawing/2014/main" id="{45911BB2-7931-F0C1-506A-80FE2A938BCC}"/>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09" name="Grafik 108">
            <a:extLst>
              <a:ext uri="{FF2B5EF4-FFF2-40B4-BE49-F238E27FC236}">
                <a16:creationId xmlns:a16="http://schemas.microsoft.com/office/drawing/2014/main" id="{52BBA8D4-ABCA-17D6-ED17-908B55CC08F6}"/>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11" name="Grafik 110">
            <a:extLst>
              <a:ext uri="{FF2B5EF4-FFF2-40B4-BE49-F238E27FC236}">
                <a16:creationId xmlns:a16="http://schemas.microsoft.com/office/drawing/2014/main" id="{E5842302-0DD1-58C7-2FA3-9C67A8BD48DA}"/>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3565497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5582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a:xfrm>
            <a:off x="623888" y="620713"/>
            <a:ext cx="9488833" cy="738664"/>
          </a:xfrm>
        </p:spPr>
        <p:txBody>
          <a:bodyPr vert="horz"/>
          <a:lstStyle/>
          <a:p>
            <a:r>
              <a:rPr lang="de-DE" dirty="0"/>
              <a:t>Aufzählungszeichen und </a:t>
            </a:r>
            <a:r>
              <a:rPr lang="de-DE" b="1" dirty="0"/>
              <a:t>Hervorhebungen</a:t>
            </a:r>
          </a:p>
        </p:txBody>
      </p:sp>
      <p:sp>
        <p:nvSpPr>
          <p:cNvPr id="7" name="Inhaltsplatzhalter 6">
            <a:extLst>
              <a:ext uri="{FF2B5EF4-FFF2-40B4-BE49-F238E27FC236}">
                <a16:creationId xmlns:a16="http://schemas.microsoft.com/office/drawing/2014/main" id="{6CD619E6-5CEC-19B0-53D9-3FACE010F821}"/>
              </a:ext>
            </a:extLst>
          </p:cNvPr>
          <p:cNvSpPr>
            <a:spLocks noGrp="1"/>
          </p:cNvSpPr>
          <p:nvPr>
            <p:ph idx="1"/>
          </p:nvPr>
        </p:nvSpPr>
        <p:spPr>
          <a:xfrm>
            <a:off x="623888" y="1773238"/>
            <a:ext cx="11233150" cy="4356100"/>
          </a:xfrm>
        </p:spPr>
        <p:txBody>
          <a:bodyPr/>
          <a:lstStyle/>
          <a:p>
            <a:r>
              <a:rPr lang="de-DE" b="1" dirty="0"/>
              <a:t>Fließtext Calibri 16 pt regular linksbündig </a:t>
            </a:r>
            <a:r>
              <a:rPr lang="de-DE" dirty="0"/>
              <a:t>consetetur sadipscing elitr sed diam nonumy eirmod tempor</a:t>
            </a:r>
          </a:p>
          <a:p>
            <a:pPr lvl="1"/>
            <a:r>
              <a:rPr lang="de-DE" dirty="0"/>
              <a:t>Lorem ipsum dolor sit amet, consetetur sadipscing elitr sed diam nonumy eirmod tempor</a:t>
            </a:r>
          </a:p>
          <a:p>
            <a:pPr lvl="2"/>
            <a:r>
              <a:rPr lang="de-DE" dirty="0"/>
              <a:t>Lorem ipsum dolor sit amet, consetetur sadipscing elitr sed diam nonumy eirmod tempor</a:t>
            </a:r>
          </a:p>
          <a:p>
            <a:pPr lvl="3"/>
            <a:r>
              <a:rPr lang="de-DE" dirty="0"/>
              <a:t>Lorem ipsum dolor sit amet, consetetur sadipscing elitr sed diam nonumy eirmod tempor</a:t>
            </a:r>
          </a:p>
          <a:p>
            <a:pPr lvl="4"/>
            <a:r>
              <a:rPr lang="de-DE" dirty="0"/>
              <a:t>Lorem ipsum dolor sit amet, consetetur sadipscing elitr sed diam nonumy eirmod tempor</a:t>
            </a:r>
          </a:p>
          <a:p>
            <a:endParaRPr lang="de-DE" dirty="0"/>
          </a:p>
          <a:p>
            <a:endParaRPr lang="de-DE"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a:xfrm>
            <a:off x="1171574" y="6443762"/>
            <a:ext cx="4924425" cy="153888"/>
          </a:xfrm>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a:xfrm>
            <a:off x="623888" y="6443762"/>
            <a:ext cx="404812" cy="153888"/>
          </a:xfrm>
        </p:spPr>
        <p:txBody>
          <a:bodyPr/>
          <a:lstStyle/>
          <a:p>
            <a:fld id="{1FBD72F1-A42A-46B0-A7F8-CE6A9835826C}" type="slidenum">
              <a:rPr lang="de-DE" smtClean="0"/>
              <a:pPr/>
              <a:t>5</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523"/>
            <a:ext cx="1267508" cy="241980"/>
          </a:xfrm>
        </p:spPr>
        <p:txBody>
          <a:bodyPr/>
          <a:lstStyle/>
          <a:p>
            <a:r>
              <a:rPr lang="de-DE" dirty="0"/>
              <a:t>Optionaler Subtitle</a:t>
            </a:r>
          </a:p>
        </p:txBody>
      </p:sp>
      <p:grpSp>
        <p:nvGrpSpPr>
          <p:cNvPr id="38" name="Gruppieren 37">
            <a:extLst>
              <a:ext uri="{FF2B5EF4-FFF2-40B4-BE49-F238E27FC236}">
                <a16:creationId xmlns:a16="http://schemas.microsoft.com/office/drawing/2014/main" id="{CA1EEBE7-9D7A-1241-4177-E1657E209C43}"/>
              </a:ext>
            </a:extLst>
          </p:cNvPr>
          <p:cNvGrpSpPr/>
          <p:nvPr/>
        </p:nvGrpSpPr>
        <p:grpSpPr>
          <a:xfrm>
            <a:off x="623888" y="2354580"/>
            <a:ext cx="11233150" cy="2949456"/>
            <a:chOff x="623888" y="2324100"/>
            <a:chExt cx="11233150" cy="2949456"/>
          </a:xfrm>
        </p:grpSpPr>
        <p:cxnSp>
          <p:nvCxnSpPr>
            <p:cNvPr id="23" name="Gerade Verbindung 27">
              <a:extLst>
                <a:ext uri="{FF2B5EF4-FFF2-40B4-BE49-F238E27FC236}">
                  <a16:creationId xmlns:a16="http://schemas.microsoft.com/office/drawing/2014/main" id="{D2BC6D7D-D341-0C09-CBC7-611DE195809B}"/>
                </a:ext>
              </a:extLst>
            </p:cNvPr>
            <p:cNvCxnSpPr>
              <a:cxnSpLocks/>
            </p:cNvCxnSpPr>
            <p:nvPr/>
          </p:nvCxnSpPr>
          <p:spPr bwMode="gray">
            <a:xfrm flipV="1">
              <a:off x="672244" y="2324100"/>
              <a:ext cx="0" cy="204216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Gerade Verbindung 28">
              <a:extLst>
                <a:ext uri="{FF2B5EF4-FFF2-40B4-BE49-F238E27FC236}">
                  <a16:creationId xmlns:a16="http://schemas.microsoft.com/office/drawing/2014/main" id="{F0DE82C1-AC8E-CA8B-983D-A6F2E72F616A}"/>
                </a:ext>
              </a:extLst>
            </p:cNvPr>
            <p:cNvCxnSpPr>
              <a:cxnSpLocks/>
            </p:cNvCxnSpPr>
            <p:nvPr/>
          </p:nvCxnSpPr>
          <p:spPr bwMode="gray">
            <a:xfrm flipV="1">
              <a:off x="884437" y="2621280"/>
              <a:ext cx="0" cy="174498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F1168962-4213-72C0-EF97-1BA3E154A1D8}"/>
                </a:ext>
              </a:extLst>
            </p:cNvPr>
            <p:cNvGrpSpPr/>
            <p:nvPr/>
          </p:nvGrpSpPr>
          <p:grpSpPr>
            <a:xfrm>
              <a:off x="623888" y="4445038"/>
              <a:ext cx="11233150" cy="828518"/>
              <a:chOff x="623888" y="4445038"/>
              <a:chExt cx="11233150" cy="828518"/>
            </a:xfrm>
          </p:grpSpPr>
          <p:sp>
            <p:nvSpPr>
              <p:cNvPr id="25" name="Inhaltsplatzhalter 2">
                <a:extLst>
                  <a:ext uri="{FF2B5EF4-FFF2-40B4-BE49-F238E27FC236}">
                    <a16:creationId xmlns:a16="http://schemas.microsoft.com/office/drawing/2014/main" id="{4FF11315-F54E-CA2D-E025-87FB83ACFC74}"/>
                  </a:ext>
                </a:extLst>
              </p:cNvPr>
              <p:cNvSpPr txBox="1">
                <a:spLocks/>
              </p:cNvSpPr>
              <p:nvPr/>
            </p:nvSpPr>
            <p:spPr>
              <a:xfrm>
                <a:off x="623888" y="4445038"/>
                <a:ext cx="11233150" cy="815608"/>
              </a:xfrm>
              <a:prstGeom prst="rect">
                <a:avLst/>
              </a:prstGeom>
            </p:spPr>
            <p:txBody>
              <a:bodyPr vert="horz" wrap="square" lIns="0" tIns="0" rIns="0" bIns="0" rtlCol="0">
                <a:spAutoFit/>
              </a:bodyPr>
              <a:lstStyle>
                <a:lvl1pPr marL="216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
                    <a:schemeClr val="tx1"/>
                  </a:buClr>
                  <a:buFont typeface="Arial" panose="020B0604020202020204" pitchFamily="34" charset="0"/>
                  <a:buChar char="ˣ"/>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defTabSz="1371600">
                  <a:spcBef>
                    <a:spcPts val="0"/>
                  </a:spcBef>
                  <a:spcAft>
                    <a:spcPts val="300"/>
                  </a:spcAft>
                  <a:buFont typeface="Wingdings" panose="05000000000000000000" pitchFamily="2" charset="2"/>
                  <a:buChar char="§"/>
                </a:pPr>
                <a:r>
                  <a:rPr lang="de-DE" sz="1200" dirty="0">
                    <a:latin typeface="+mj-lt"/>
                  </a:rPr>
                  <a:t>Um ein sauberes Arbeiten mit den Aufzählungszeichen zu ermöglichen, bitte immer einen </a:t>
                </a:r>
                <a:r>
                  <a:rPr lang="de-DE" sz="1200" b="1" dirty="0">
                    <a:latin typeface="+mj-lt"/>
                  </a:rPr>
                  <a:t>Textplatzhalter</a:t>
                </a:r>
                <a:r>
                  <a:rPr lang="de-DE" sz="1200" dirty="0">
                    <a:latin typeface="+mj-lt"/>
                  </a:rPr>
                  <a:t> nutzen </a:t>
                </a:r>
                <a:br>
                  <a:rPr lang="de-DE" sz="1200" dirty="0">
                    <a:latin typeface="+mj-lt"/>
                  </a:rPr>
                </a:br>
                <a:r>
                  <a:rPr lang="de-DE" sz="1200" dirty="0">
                    <a:latin typeface="+mj-lt"/>
                  </a:rPr>
                  <a:t>und kein „normales“ Textfeld, welches über „Einfügen“ </a:t>
                </a:r>
                <a:r>
                  <a:rPr lang="de-DE" sz="1200" dirty="0">
                    <a:latin typeface="+mj-lt"/>
                    <a:sym typeface="Wingdings" panose="05000000000000000000" pitchFamily="2" charset="2"/>
                  </a:rPr>
                  <a:t></a:t>
                </a:r>
                <a:r>
                  <a:rPr lang="de-DE" sz="1200" dirty="0">
                    <a:latin typeface="+mj-lt"/>
                  </a:rPr>
                  <a:t> „Textfeld“ erstellt wird</a:t>
                </a:r>
              </a:p>
              <a:p>
                <a:pPr marL="180000" indent="-180000" defTabSz="1371600">
                  <a:spcBef>
                    <a:spcPts val="0"/>
                  </a:spcBef>
                  <a:spcAft>
                    <a:spcPts val="300"/>
                  </a:spcAft>
                  <a:buFont typeface="Wingdings" panose="05000000000000000000" pitchFamily="2" charset="2"/>
                  <a:buChar char="§"/>
                </a:pPr>
                <a:r>
                  <a:rPr lang="de-DE" sz="1200" dirty="0">
                    <a:latin typeface="+mj-lt"/>
                  </a:rPr>
                  <a:t>Textplatzhalter können sobald sie befüllt sind auch kopiert werden, kopierte Platzhalter behalten dann ihre automatischen Formatierungen bei</a:t>
                </a:r>
              </a:p>
              <a:p>
                <a:pPr marL="180000" indent="-180000" defTabSz="1371600">
                  <a:spcBef>
                    <a:spcPts val="0"/>
                  </a:spcBef>
                  <a:spcAft>
                    <a:spcPts val="300"/>
                  </a:spcAft>
                  <a:buFont typeface="Wingdings" panose="05000000000000000000" pitchFamily="2" charset="2"/>
                  <a:buChar char="§"/>
                </a:pPr>
                <a:r>
                  <a:rPr lang="de-DE" sz="1200" dirty="0">
                    <a:latin typeface="+mj-lt"/>
                  </a:rPr>
                  <a:t>Automatische Einrückung erfolgt </a:t>
                </a:r>
                <a:r>
                  <a:rPr lang="de-DE" sz="1200" b="1" dirty="0">
                    <a:latin typeface="+mj-lt"/>
                  </a:rPr>
                  <a:t>ausschließlich</a:t>
                </a:r>
                <a:r>
                  <a:rPr lang="de-DE" sz="1200" dirty="0">
                    <a:latin typeface="+mj-lt"/>
                  </a:rPr>
                  <a:t> in </a:t>
                </a:r>
                <a:r>
                  <a:rPr lang="de-DE" sz="1200" b="1" dirty="0">
                    <a:latin typeface="+mj-lt"/>
                  </a:rPr>
                  <a:t>Textplatzhaltern</a:t>
                </a:r>
                <a:r>
                  <a:rPr lang="de-DE" sz="1200" dirty="0">
                    <a:latin typeface="+mj-lt"/>
                  </a:rPr>
                  <a:t> über höher/tiefer Stufen               (oder Umschalttaste + Alt + </a:t>
                </a:r>
                <a:r>
                  <a:rPr lang="de-DE" sz="1200" dirty="0">
                    <a:latin typeface="+mj-lt"/>
                    <a:sym typeface="Wingdings" panose="05000000000000000000" pitchFamily="2" charset="2"/>
                  </a:rPr>
                  <a:t></a:t>
                </a:r>
                <a:r>
                  <a:rPr lang="de-DE" sz="1200" dirty="0">
                    <a:latin typeface="+mj-lt"/>
                  </a:rPr>
                  <a:t> / </a:t>
                </a:r>
                <a:r>
                  <a:rPr lang="de-DE" sz="1200" dirty="0">
                    <a:latin typeface="+mj-lt"/>
                    <a:sym typeface="Wingdings" panose="05000000000000000000" pitchFamily="2" charset="2"/>
                  </a:rPr>
                  <a:t></a:t>
                </a:r>
                <a:r>
                  <a:rPr lang="de-DE" sz="1200" dirty="0">
                    <a:latin typeface="+mj-lt"/>
                  </a:rPr>
                  <a:t>)</a:t>
                </a:r>
              </a:p>
            </p:txBody>
          </p:sp>
          <p:pic>
            <p:nvPicPr>
              <p:cNvPr id="26" name="Grafik 25">
                <a:extLst>
                  <a:ext uri="{FF2B5EF4-FFF2-40B4-BE49-F238E27FC236}">
                    <a16:creationId xmlns:a16="http://schemas.microsoft.com/office/drawing/2014/main" id="{DF322DE6-2B84-EA45-CD0C-96924E4E4797}"/>
                  </a:ext>
                </a:extLst>
              </p:cNvPr>
              <p:cNvPicPr>
                <a:picLocks noChangeAspect="1"/>
              </p:cNvPicPr>
              <p:nvPr/>
            </p:nvPicPr>
            <p:blipFill rotWithShape="1">
              <a:blip r:embed="rId6"/>
              <a:srcRect l="6771" t="9271" r="1" b="1"/>
              <a:stretch/>
            </p:blipFill>
            <p:spPr>
              <a:xfrm>
                <a:off x="6584764" y="5074920"/>
                <a:ext cx="335794" cy="198636"/>
              </a:xfrm>
              <a:prstGeom prst="rect">
                <a:avLst/>
              </a:prstGeom>
            </p:spPr>
          </p:pic>
        </p:grpSp>
        <p:cxnSp>
          <p:nvCxnSpPr>
            <p:cNvPr id="27" name="Gerade Verbindung 28">
              <a:extLst>
                <a:ext uri="{FF2B5EF4-FFF2-40B4-BE49-F238E27FC236}">
                  <a16:creationId xmlns:a16="http://schemas.microsoft.com/office/drawing/2014/main" id="{E153D8BE-0EFC-D1F1-02AB-92A001E48B8E}"/>
                </a:ext>
              </a:extLst>
            </p:cNvPr>
            <p:cNvCxnSpPr>
              <a:cxnSpLocks/>
            </p:cNvCxnSpPr>
            <p:nvPr/>
          </p:nvCxnSpPr>
          <p:spPr bwMode="gray">
            <a:xfrm flipV="1">
              <a:off x="1097797" y="2948940"/>
              <a:ext cx="0" cy="141732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rade Verbindung 28">
              <a:extLst>
                <a:ext uri="{FF2B5EF4-FFF2-40B4-BE49-F238E27FC236}">
                  <a16:creationId xmlns:a16="http://schemas.microsoft.com/office/drawing/2014/main" id="{1B7E7768-8FA2-571F-6963-84ADC020A688}"/>
                </a:ext>
              </a:extLst>
            </p:cNvPr>
            <p:cNvCxnSpPr>
              <a:cxnSpLocks/>
            </p:cNvCxnSpPr>
            <p:nvPr/>
          </p:nvCxnSpPr>
          <p:spPr bwMode="gray">
            <a:xfrm flipV="1">
              <a:off x="1318777" y="3284220"/>
              <a:ext cx="0" cy="1082040"/>
            </a:xfrm>
            <a:prstGeom prst="line">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Tree>
    <p:extLst>
      <p:ext uri="{BB962C8B-B14F-4D97-AF65-F5344CB8AC3E}">
        <p14:creationId xmlns:p14="http://schemas.microsoft.com/office/powerpoint/2010/main" val="16632904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0DEB998-2F62-2263-4394-3A5175FDE8AB}"/>
              </a:ext>
            </a:extLst>
          </p:cNvPr>
          <p:cNvGraphicFramePr>
            <a:graphicFrameLocks noChangeAspect="1"/>
          </p:cNvGraphicFramePr>
          <p:nvPr>
            <p:custDataLst>
              <p:tags r:id="rId1"/>
            </p:custDataLst>
            <p:extLst>
              <p:ext uri="{D42A27DB-BD31-4B8C-83A1-F6EECF244321}">
                <p14:modId xmlns:p14="http://schemas.microsoft.com/office/powerpoint/2010/main" val="175074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20DEB998-2F62-2263-4394-3A5175FDE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686EBA-2857-6C4F-214B-A55F7BEDA21A}"/>
              </a:ext>
            </a:extLst>
          </p:cNvPr>
          <p:cNvSpPr>
            <a:spLocks noGrp="1"/>
          </p:cNvSpPr>
          <p:nvPr>
            <p:ph type="title"/>
          </p:nvPr>
        </p:nvSpPr>
        <p:spPr/>
        <p:txBody>
          <a:bodyPr vert="horz"/>
          <a:lstStyle/>
          <a:p>
            <a:r>
              <a:rPr lang="de-DE" dirty="0"/>
              <a:t>Icons (7/7)</a:t>
            </a:r>
          </a:p>
        </p:txBody>
      </p:sp>
      <p:sp>
        <p:nvSpPr>
          <p:cNvPr id="3" name="Fußzeilenplatzhalter 2">
            <a:extLst>
              <a:ext uri="{FF2B5EF4-FFF2-40B4-BE49-F238E27FC236}">
                <a16:creationId xmlns:a16="http://schemas.microsoft.com/office/drawing/2014/main" id="{F6A706BA-3963-B226-910C-1BFD53849C05}"/>
              </a:ext>
            </a:extLst>
          </p:cNvPr>
          <p:cNvSpPr>
            <a:spLocks noGrp="1"/>
          </p:cNvSpPr>
          <p:nvPr>
            <p:ph type="ftr" sz="quarter" idx="10"/>
          </p:nvPr>
        </p:nvSpPr>
        <p:spPr/>
        <p:txBody>
          <a:bodyPr/>
          <a:lstStyle/>
          <a:p>
            <a:r>
              <a:rPr lang="de-DE"/>
              <a:t>© msg digital | Titel einfügen | 2024</a:t>
            </a:r>
            <a:endParaRPr lang="de-DE" dirty="0"/>
          </a:p>
        </p:txBody>
      </p:sp>
      <p:sp>
        <p:nvSpPr>
          <p:cNvPr id="4" name="Foliennummernplatzhalter 3">
            <a:extLst>
              <a:ext uri="{FF2B5EF4-FFF2-40B4-BE49-F238E27FC236}">
                <a16:creationId xmlns:a16="http://schemas.microsoft.com/office/drawing/2014/main" id="{0EFB52A6-511C-ED5F-E5CD-FA8ED604C460}"/>
              </a:ext>
            </a:extLst>
          </p:cNvPr>
          <p:cNvSpPr>
            <a:spLocks noGrp="1"/>
          </p:cNvSpPr>
          <p:nvPr>
            <p:ph type="sldNum" sz="quarter" idx="11"/>
          </p:nvPr>
        </p:nvSpPr>
        <p:spPr/>
        <p:txBody>
          <a:bodyPr/>
          <a:lstStyle/>
          <a:p>
            <a:fld id="{1FBD72F1-A42A-46B0-A7F8-CE6A9835826C}" type="slidenum">
              <a:rPr lang="de-DE" smtClean="0"/>
              <a:pPr/>
              <a:t>50</a:t>
            </a:fld>
            <a:endParaRPr lang="de-DE" dirty="0"/>
          </a:p>
        </p:txBody>
      </p:sp>
      <p:sp>
        <p:nvSpPr>
          <p:cNvPr id="5" name="Textplatzhalter 4">
            <a:extLst>
              <a:ext uri="{FF2B5EF4-FFF2-40B4-BE49-F238E27FC236}">
                <a16:creationId xmlns:a16="http://schemas.microsoft.com/office/drawing/2014/main" id="{E9693630-37D2-B69F-C40E-FAF5683256AE}"/>
              </a:ext>
            </a:extLst>
          </p:cNvPr>
          <p:cNvSpPr>
            <a:spLocks noGrp="1"/>
          </p:cNvSpPr>
          <p:nvPr>
            <p:ph type="body" sz="quarter" idx="12"/>
          </p:nvPr>
        </p:nvSpPr>
        <p:spPr>
          <a:xfrm>
            <a:off x="623888" y="296863"/>
            <a:ext cx="1238654" cy="241980"/>
          </a:xfrm>
        </p:spPr>
        <p:txBody>
          <a:bodyPr/>
          <a:lstStyle/>
          <a:p>
            <a:r>
              <a:rPr lang="de-DE" dirty="0"/>
              <a:t>Ich bin ein </a:t>
            </a:r>
            <a:r>
              <a:rPr lang="de-DE" dirty="0" err="1"/>
              <a:t>Subtitle</a:t>
            </a:r>
            <a:endParaRPr lang="de-DE" dirty="0"/>
          </a:p>
        </p:txBody>
      </p:sp>
      <p:pic>
        <p:nvPicPr>
          <p:cNvPr id="8" name="Grafik 7">
            <a:extLst>
              <a:ext uri="{FF2B5EF4-FFF2-40B4-BE49-F238E27FC236}">
                <a16:creationId xmlns:a16="http://schemas.microsoft.com/office/drawing/2014/main" id="{7458461D-5F9A-62DD-BD8D-03079BCC2C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888" y="1773238"/>
            <a:ext cx="952500" cy="952500"/>
          </a:xfrm>
          <a:prstGeom prst="rect">
            <a:avLst/>
          </a:prstGeom>
        </p:spPr>
      </p:pic>
      <p:pic>
        <p:nvPicPr>
          <p:cNvPr id="14" name="Grafik 13">
            <a:extLst>
              <a:ext uri="{FF2B5EF4-FFF2-40B4-BE49-F238E27FC236}">
                <a16:creationId xmlns:a16="http://schemas.microsoft.com/office/drawing/2014/main" id="{0F276108-7F9D-4ADA-8D81-AC3676B779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552" y="1773238"/>
            <a:ext cx="952500" cy="952500"/>
          </a:xfrm>
          <a:prstGeom prst="rect">
            <a:avLst/>
          </a:prstGeom>
        </p:spPr>
      </p:pic>
      <p:pic>
        <p:nvPicPr>
          <p:cNvPr id="18" name="Grafik 17">
            <a:extLst>
              <a:ext uri="{FF2B5EF4-FFF2-40B4-BE49-F238E27FC236}">
                <a16:creationId xmlns:a16="http://schemas.microsoft.com/office/drawing/2014/main" id="{540B0034-D6FE-F048-356B-12E892C89C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1217" y="1773238"/>
            <a:ext cx="952500" cy="952500"/>
          </a:xfrm>
          <a:prstGeom prst="rect">
            <a:avLst/>
          </a:prstGeom>
        </p:spPr>
      </p:pic>
      <p:pic>
        <p:nvPicPr>
          <p:cNvPr id="21" name="Grafik 20">
            <a:extLst>
              <a:ext uri="{FF2B5EF4-FFF2-40B4-BE49-F238E27FC236}">
                <a16:creationId xmlns:a16="http://schemas.microsoft.com/office/drawing/2014/main" id="{6B72116A-F33E-9BF6-67E4-2556AA97F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9881" y="1773238"/>
            <a:ext cx="952500" cy="952500"/>
          </a:xfrm>
          <a:prstGeom prst="rect">
            <a:avLst/>
          </a:prstGeom>
        </p:spPr>
      </p:pic>
      <p:pic>
        <p:nvPicPr>
          <p:cNvPr id="24" name="Grafik 23">
            <a:extLst>
              <a:ext uri="{FF2B5EF4-FFF2-40B4-BE49-F238E27FC236}">
                <a16:creationId xmlns:a16="http://schemas.microsoft.com/office/drawing/2014/main" id="{4972A9B8-A191-DFC3-E324-EBD2A4753E7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98545" y="1773238"/>
            <a:ext cx="952500" cy="952500"/>
          </a:xfrm>
          <a:prstGeom prst="rect">
            <a:avLst/>
          </a:prstGeom>
        </p:spPr>
      </p:pic>
      <p:pic>
        <p:nvPicPr>
          <p:cNvPr id="30" name="Grafik 29">
            <a:extLst>
              <a:ext uri="{FF2B5EF4-FFF2-40B4-BE49-F238E27FC236}">
                <a16:creationId xmlns:a16="http://schemas.microsoft.com/office/drawing/2014/main" id="{1315FEE2-2E21-3629-B064-E3A6034243E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967210" y="1773238"/>
            <a:ext cx="952500" cy="952500"/>
          </a:xfrm>
          <a:prstGeom prst="rect">
            <a:avLst/>
          </a:prstGeom>
        </p:spPr>
      </p:pic>
      <p:pic>
        <p:nvPicPr>
          <p:cNvPr id="32" name="Grafik 31">
            <a:extLst>
              <a:ext uri="{FF2B5EF4-FFF2-40B4-BE49-F238E27FC236}">
                <a16:creationId xmlns:a16="http://schemas.microsoft.com/office/drawing/2014/main" id="{63DFD1F6-B4C0-9C47-7718-E5DB27203C7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35874" y="1773238"/>
            <a:ext cx="952500" cy="952500"/>
          </a:xfrm>
          <a:prstGeom prst="rect">
            <a:avLst/>
          </a:prstGeom>
        </p:spPr>
      </p:pic>
      <p:pic>
        <p:nvPicPr>
          <p:cNvPr id="37" name="Grafik 36">
            <a:extLst>
              <a:ext uri="{FF2B5EF4-FFF2-40B4-BE49-F238E27FC236}">
                <a16:creationId xmlns:a16="http://schemas.microsoft.com/office/drawing/2014/main" id="{0D24AFF0-A2D0-B845-A8B0-16D0235DDF8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904538" y="1773238"/>
            <a:ext cx="952500" cy="952500"/>
          </a:xfrm>
          <a:prstGeom prst="rect">
            <a:avLst/>
          </a:prstGeom>
        </p:spPr>
      </p:pic>
      <p:pic>
        <p:nvPicPr>
          <p:cNvPr id="40" name="Grafik 39">
            <a:extLst>
              <a:ext uri="{FF2B5EF4-FFF2-40B4-BE49-F238E27FC236}">
                <a16:creationId xmlns:a16="http://schemas.microsoft.com/office/drawing/2014/main" id="{8B348802-EF4B-DB03-84DF-B940CD21781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3888" y="2907771"/>
            <a:ext cx="952500" cy="952500"/>
          </a:xfrm>
          <a:prstGeom prst="rect">
            <a:avLst/>
          </a:prstGeom>
        </p:spPr>
      </p:pic>
      <p:pic>
        <p:nvPicPr>
          <p:cNvPr id="42" name="Grafik 41">
            <a:extLst>
              <a:ext uri="{FF2B5EF4-FFF2-40B4-BE49-F238E27FC236}">
                <a16:creationId xmlns:a16="http://schemas.microsoft.com/office/drawing/2014/main" id="{AE66CA35-C434-C674-68F7-0AFA02910C7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092552" y="2907771"/>
            <a:ext cx="952500" cy="952500"/>
          </a:xfrm>
          <a:prstGeom prst="rect">
            <a:avLst/>
          </a:prstGeom>
        </p:spPr>
      </p:pic>
      <p:pic>
        <p:nvPicPr>
          <p:cNvPr id="51" name="Grafik 50">
            <a:extLst>
              <a:ext uri="{FF2B5EF4-FFF2-40B4-BE49-F238E27FC236}">
                <a16:creationId xmlns:a16="http://schemas.microsoft.com/office/drawing/2014/main" id="{B3D840B1-7BDF-0662-DC41-8C31777EBFD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61217" y="2907771"/>
            <a:ext cx="952500" cy="952500"/>
          </a:xfrm>
          <a:prstGeom prst="rect">
            <a:avLst/>
          </a:prstGeom>
        </p:spPr>
      </p:pic>
      <p:pic>
        <p:nvPicPr>
          <p:cNvPr id="53" name="Grafik 52">
            <a:extLst>
              <a:ext uri="{FF2B5EF4-FFF2-40B4-BE49-F238E27FC236}">
                <a16:creationId xmlns:a16="http://schemas.microsoft.com/office/drawing/2014/main" id="{52CC46D2-BFF5-B1BA-E70E-BD25DD5093E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29881" y="2907771"/>
            <a:ext cx="952500" cy="952500"/>
          </a:xfrm>
          <a:prstGeom prst="rect">
            <a:avLst/>
          </a:prstGeom>
        </p:spPr>
      </p:pic>
      <p:pic>
        <p:nvPicPr>
          <p:cNvPr id="56" name="Grafik 55">
            <a:extLst>
              <a:ext uri="{FF2B5EF4-FFF2-40B4-BE49-F238E27FC236}">
                <a16:creationId xmlns:a16="http://schemas.microsoft.com/office/drawing/2014/main" id="{A47471B6-16BF-3808-9662-9A045D2CA9E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498545" y="2907771"/>
            <a:ext cx="952500" cy="952500"/>
          </a:xfrm>
          <a:prstGeom prst="rect">
            <a:avLst/>
          </a:prstGeom>
        </p:spPr>
      </p:pic>
      <p:pic>
        <p:nvPicPr>
          <p:cNvPr id="59" name="Grafik 58">
            <a:extLst>
              <a:ext uri="{FF2B5EF4-FFF2-40B4-BE49-F238E27FC236}">
                <a16:creationId xmlns:a16="http://schemas.microsoft.com/office/drawing/2014/main" id="{5AFA0EB7-C887-294A-1E14-6D479ADB8CC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967210" y="2907771"/>
            <a:ext cx="952500" cy="952500"/>
          </a:xfrm>
          <a:prstGeom prst="rect">
            <a:avLst/>
          </a:prstGeom>
        </p:spPr>
      </p:pic>
      <p:pic>
        <p:nvPicPr>
          <p:cNvPr id="62" name="Grafik 61">
            <a:extLst>
              <a:ext uri="{FF2B5EF4-FFF2-40B4-BE49-F238E27FC236}">
                <a16:creationId xmlns:a16="http://schemas.microsoft.com/office/drawing/2014/main" id="{2660F6D5-E9C1-7762-3D81-A5F81D0E1B6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435874" y="2907771"/>
            <a:ext cx="952500" cy="952500"/>
          </a:xfrm>
          <a:prstGeom prst="rect">
            <a:avLst/>
          </a:prstGeom>
        </p:spPr>
      </p:pic>
      <p:pic>
        <p:nvPicPr>
          <p:cNvPr id="65" name="Grafik 64">
            <a:extLst>
              <a:ext uri="{FF2B5EF4-FFF2-40B4-BE49-F238E27FC236}">
                <a16:creationId xmlns:a16="http://schemas.microsoft.com/office/drawing/2014/main" id="{B6EEBCC7-989C-3425-6BB4-7FBC3639BB8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04538" y="2907771"/>
            <a:ext cx="952500" cy="952500"/>
          </a:xfrm>
          <a:prstGeom prst="rect">
            <a:avLst/>
          </a:prstGeom>
        </p:spPr>
      </p:pic>
      <p:pic>
        <p:nvPicPr>
          <p:cNvPr id="68" name="Grafik 67">
            <a:extLst>
              <a:ext uri="{FF2B5EF4-FFF2-40B4-BE49-F238E27FC236}">
                <a16:creationId xmlns:a16="http://schemas.microsoft.com/office/drawing/2014/main" id="{CA5E2450-EE4A-262F-6E35-4C106DD9B988}"/>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3888" y="4042304"/>
            <a:ext cx="952500" cy="952500"/>
          </a:xfrm>
          <a:prstGeom prst="rect">
            <a:avLst/>
          </a:prstGeom>
        </p:spPr>
      </p:pic>
      <p:pic>
        <p:nvPicPr>
          <p:cNvPr id="73" name="Grafik 72">
            <a:extLst>
              <a:ext uri="{FF2B5EF4-FFF2-40B4-BE49-F238E27FC236}">
                <a16:creationId xmlns:a16="http://schemas.microsoft.com/office/drawing/2014/main" id="{68FCF541-191A-8CE2-66A1-B48C538DFBA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092552" y="4042304"/>
            <a:ext cx="952500" cy="952500"/>
          </a:xfrm>
          <a:prstGeom prst="rect">
            <a:avLst/>
          </a:prstGeom>
        </p:spPr>
      </p:pic>
      <p:pic>
        <p:nvPicPr>
          <p:cNvPr id="76" name="Grafik 75">
            <a:extLst>
              <a:ext uri="{FF2B5EF4-FFF2-40B4-BE49-F238E27FC236}">
                <a16:creationId xmlns:a16="http://schemas.microsoft.com/office/drawing/2014/main" id="{CF398E18-389F-698C-80AA-64B2F141262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61217" y="4042304"/>
            <a:ext cx="952500" cy="952500"/>
          </a:xfrm>
          <a:prstGeom prst="rect">
            <a:avLst/>
          </a:prstGeom>
        </p:spPr>
      </p:pic>
      <p:pic>
        <p:nvPicPr>
          <p:cNvPr id="79" name="Grafik 78">
            <a:extLst>
              <a:ext uri="{FF2B5EF4-FFF2-40B4-BE49-F238E27FC236}">
                <a16:creationId xmlns:a16="http://schemas.microsoft.com/office/drawing/2014/main" id="{B7E1EFA2-90CB-DD87-3F8D-D7A77570906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29881" y="4042304"/>
            <a:ext cx="952500" cy="952500"/>
          </a:xfrm>
          <a:prstGeom prst="rect">
            <a:avLst/>
          </a:prstGeom>
        </p:spPr>
      </p:pic>
      <p:pic>
        <p:nvPicPr>
          <p:cNvPr id="82" name="Grafik 81">
            <a:extLst>
              <a:ext uri="{FF2B5EF4-FFF2-40B4-BE49-F238E27FC236}">
                <a16:creationId xmlns:a16="http://schemas.microsoft.com/office/drawing/2014/main" id="{A5ED7639-5DCB-7A34-3627-D35863770BA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498545" y="4042304"/>
            <a:ext cx="952500" cy="952500"/>
          </a:xfrm>
          <a:prstGeom prst="rect">
            <a:avLst/>
          </a:prstGeom>
        </p:spPr>
      </p:pic>
      <p:pic>
        <p:nvPicPr>
          <p:cNvPr id="90" name="Grafik 89">
            <a:extLst>
              <a:ext uri="{FF2B5EF4-FFF2-40B4-BE49-F238E27FC236}">
                <a16:creationId xmlns:a16="http://schemas.microsoft.com/office/drawing/2014/main" id="{9FFA027B-C642-53A9-0D30-06B9E85607CB}"/>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7967210" y="4042304"/>
            <a:ext cx="952500" cy="952500"/>
          </a:xfrm>
          <a:prstGeom prst="rect">
            <a:avLst/>
          </a:prstGeom>
        </p:spPr>
      </p:pic>
      <p:pic>
        <p:nvPicPr>
          <p:cNvPr id="93" name="Grafik 92">
            <a:extLst>
              <a:ext uri="{FF2B5EF4-FFF2-40B4-BE49-F238E27FC236}">
                <a16:creationId xmlns:a16="http://schemas.microsoft.com/office/drawing/2014/main" id="{FC60A7FD-20AF-4E89-5E86-5F80CB484742}"/>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435874" y="4042304"/>
            <a:ext cx="952500" cy="952500"/>
          </a:xfrm>
          <a:prstGeom prst="rect">
            <a:avLst/>
          </a:prstGeom>
        </p:spPr>
      </p:pic>
      <p:pic>
        <p:nvPicPr>
          <p:cNvPr id="97" name="Grafik 96">
            <a:extLst>
              <a:ext uri="{FF2B5EF4-FFF2-40B4-BE49-F238E27FC236}">
                <a16:creationId xmlns:a16="http://schemas.microsoft.com/office/drawing/2014/main" id="{88EB8275-56EF-A1F8-A835-B24DE17F176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904538" y="4042304"/>
            <a:ext cx="952500" cy="952500"/>
          </a:xfrm>
          <a:prstGeom prst="rect">
            <a:avLst/>
          </a:prstGeom>
        </p:spPr>
      </p:pic>
      <p:pic>
        <p:nvPicPr>
          <p:cNvPr id="101" name="Grafik 100">
            <a:extLst>
              <a:ext uri="{FF2B5EF4-FFF2-40B4-BE49-F238E27FC236}">
                <a16:creationId xmlns:a16="http://schemas.microsoft.com/office/drawing/2014/main" id="{1B790D22-9EF3-E30C-74E8-3DC8F8380712}"/>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623888" y="5176838"/>
            <a:ext cx="952500" cy="952500"/>
          </a:xfrm>
          <a:prstGeom prst="rect">
            <a:avLst/>
          </a:prstGeom>
        </p:spPr>
      </p:pic>
      <p:pic>
        <p:nvPicPr>
          <p:cNvPr id="104" name="Grafik 103">
            <a:extLst>
              <a:ext uri="{FF2B5EF4-FFF2-40B4-BE49-F238E27FC236}">
                <a16:creationId xmlns:a16="http://schemas.microsoft.com/office/drawing/2014/main" id="{4E86A1B2-0A18-D94C-714C-184C40634795}"/>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92552" y="5176838"/>
            <a:ext cx="952500" cy="952500"/>
          </a:xfrm>
          <a:prstGeom prst="rect">
            <a:avLst/>
          </a:prstGeom>
        </p:spPr>
      </p:pic>
      <p:pic>
        <p:nvPicPr>
          <p:cNvPr id="108" name="Grafik 107">
            <a:extLst>
              <a:ext uri="{FF2B5EF4-FFF2-40B4-BE49-F238E27FC236}">
                <a16:creationId xmlns:a16="http://schemas.microsoft.com/office/drawing/2014/main" id="{51EDCCBF-0A5D-F8E5-7F99-9CA87CCE0BCD}"/>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3561217" y="5176838"/>
            <a:ext cx="952500" cy="952500"/>
          </a:xfrm>
          <a:prstGeom prst="rect">
            <a:avLst/>
          </a:prstGeom>
        </p:spPr>
      </p:pic>
      <p:pic>
        <p:nvPicPr>
          <p:cNvPr id="112" name="Grafik 111">
            <a:extLst>
              <a:ext uri="{FF2B5EF4-FFF2-40B4-BE49-F238E27FC236}">
                <a16:creationId xmlns:a16="http://schemas.microsoft.com/office/drawing/2014/main" id="{4CF0A0E1-0B34-F426-A9C1-60327B47D1AA}"/>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029881" y="5176838"/>
            <a:ext cx="952500" cy="952500"/>
          </a:xfrm>
          <a:prstGeom prst="rect">
            <a:avLst/>
          </a:prstGeom>
        </p:spPr>
      </p:pic>
      <p:pic>
        <p:nvPicPr>
          <p:cNvPr id="116" name="Grafik 115">
            <a:extLst>
              <a:ext uri="{FF2B5EF4-FFF2-40B4-BE49-F238E27FC236}">
                <a16:creationId xmlns:a16="http://schemas.microsoft.com/office/drawing/2014/main" id="{36C889A6-1F69-B8DF-91F8-B87F9C50842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6498545" y="5176838"/>
            <a:ext cx="952500" cy="952500"/>
          </a:xfrm>
          <a:prstGeom prst="rect">
            <a:avLst/>
          </a:prstGeom>
        </p:spPr>
      </p:pic>
      <p:pic>
        <p:nvPicPr>
          <p:cNvPr id="118" name="Grafik 117">
            <a:extLst>
              <a:ext uri="{FF2B5EF4-FFF2-40B4-BE49-F238E27FC236}">
                <a16:creationId xmlns:a16="http://schemas.microsoft.com/office/drawing/2014/main" id="{EB3A4D94-E414-2DD9-6CAB-4EB3288FB7CB}"/>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7967210" y="5176838"/>
            <a:ext cx="952500" cy="952500"/>
          </a:xfrm>
          <a:prstGeom prst="rect">
            <a:avLst/>
          </a:prstGeom>
        </p:spPr>
      </p:pic>
      <p:pic>
        <p:nvPicPr>
          <p:cNvPr id="128" name="Grafik 127">
            <a:extLst>
              <a:ext uri="{FF2B5EF4-FFF2-40B4-BE49-F238E27FC236}">
                <a16:creationId xmlns:a16="http://schemas.microsoft.com/office/drawing/2014/main" id="{7F0928BF-730A-5140-0681-AB1A6D4D5D07}"/>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435874" y="5176838"/>
            <a:ext cx="952500" cy="952500"/>
          </a:xfrm>
          <a:prstGeom prst="rect">
            <a:avLst/>
          </a:prstGeom>
        </p:spPr>
      </p:pic>
      <p:pic>
        <p:nvPicPr>
          <p:cNvPr id="130" name="Grafik 129">
            <a:extLst>
              <a:ext uri="{FF2B5EF4-FFF2-40B4-BE49-F238E27FC236}">
                <a16:creationId xmlns:a16="http://schemas.microsoft.com/office/drawing/2014/main" id="{6A7426E3-D2EA-5BD9-7F02-4663E295004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10904538" y="5176838"/>
            <a:ext cx="952500" cy="952500"/>
          </a:xfrm>
          <a:prstGeom prst="rect">
            <a:avLst/>
          </a:prstGeom>
        </p:spPr>
      </p:pic>
    </p:spTree>
    <p:extLst>
      <p:ext uri="{BB962C8B-B14F-4D97-AF65-F5344CB8AC3E}">
        <p14:creationId xmlns:p14="http://schemas.microsoft.com/office/powerpoint/2010/main" val="1856078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D3AEB2-D8B4-B48B-8F62-513708B81F49}"/>
              </a:ext>
            </a:extLst>
          </p:cNvPr>
          <p:cNvGraphicFramePr>
            <a:graphicFrameLocks noChangeAspect="1"/>
          </p:cNvGraphicFramePr>
          <p:nvPr>
            <p:custDataLst>
              <p:tags r:id="rId1"/>
            </p:custDataLst>
            <p:extLst>
              <p:ext uri="{D42A27DB-BD31-4B8C-83A1-F6EECF244321}">
                <p14:modId xmlns:p14="http://schemas.microsoft.com/office/powerpoint/2010/main" val="7302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1DD3AEB2-D8B4-B48B-8F62-513708B81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7010EF97-84FC-E355-A66C-8ED189EA6949}"/>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3" name="Textfeld 32">
            <a:extLst>
              <a:ext uri="{FF2B5EF4-FFF2-40B4-BE49-F238E27FC236}">
                <a16:creationId xmlns:a16="http://schemas.microsoft.com/office/drawing/2014/main" id="{4C29545F-EA51-5C75-B169-7721317A7C1A}"/>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5" name="Textplatzhalter 2">
            <a:extLst>
              <a:ext uri="{FF2B5EF4-FFF2-40B4-BE49-F238E27FC236}">
                <a16:creationId xmlns:a16="http://schemas.microsoft.com/office/drawing/2014/main" id="{ED6E3A85-1C4C-9938-FC34-448774063F24}"/>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grpSp>
        <p:nvGrpSpPr>
          <p:cNvPr id="29" name="Gruppieren 28">
            <a:extLst>
              <a:ext uri="{FF2B5EF4-FFF2-40B4-BE49-F238E27FC236}">
                <a16:creationId xmlns:a16="http://schemas.microsoft.com/office/drawing/2014/main" id="{6E9D0ABB-4DBD-6A94-96F3-28B0B5893941}"/>
              </a:ext>
            </a:extLst>
          </p:cNvPr>
          <p:cNvGrpSpPr/>
          <p:nvPr/>
        </p:nvGrpSpPr>
        <p:grpSpPr>
          <a:xfrm>
            <a:off x="0" y="0"/>
            <a:ext cx="12192000" cy="6858000"/>
            <a:chOff x="0" y="0"/>
            <a:chExt cx="12192000" cy="6858000"/>
          </a:xfrm>
        </p:grpSpPr>
        <p:cxnSp>
          <p:nvCxnSpPr>
            <p:cNvPr id="18" name="Gerader Verbinder 17">
              <a:extLst>
                <a:ext uri="{FF2B5EF4-FFF2-40B4-BE49-F238E27FC236}">
                  <a16:creationId xmlns:a16="http://schemas.microsoft.com/office/drawing/2014/main" id="{CBCDF9EF-0DDC-8F4D-F1FA-459FC491E090}"/>
                </a:ext>
              </a:extLst>
            </p:cNvPr>
            <p:cNvCxnSpPr/>
            <p:nvPr/>
          </p:nvCxnSpPr>
          <p:spPr>
            <a:xfrm>
              <a:off x="62388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07B4FD7-B577-E182-7C6E-9F1F5C7FE0C8}"/>
                </a:ext>
              </a:extLst>
            </p:cNvPr>
            <p:cNvCxnSpPr/>
            <p:nvPr/>
          </p:nvCxnSpPr>
          <p:spPr>
            <a:xfrm>
              <a:off x="11857038" y="0"/>
              <a:ext cx="0" cy="685800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F2BDF8D5-1E57-5050-7AB4-3DE77A14E82B}"/>
                </a:ext>
              </a:extLst>
            </p:cNvPr>
            <p:cNvCxnSpPr>
              <a:cxnSpLocks/>
            </p:cNvCxnSpPr>
            <p:nvPr/>
          </p:nvCxnSpPr>
          <p:spPr>
            <a:xfrm flipH="1">
              <a:off x="0" y="29686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287ACCAB-7FB3-DA64-8AA2-458930C87E5C}"/>
                </a:ext>
              </a:extLst>
            </p:cNvPr>
            <p:cNvCxnSpPr>
              <a:cxnSpLocks/>
            </p:cNvCxnSpPr>
            <p:nvPr/>
          </p:nvCxnSpPr>
          <p:spPr>
            <a:xfrm flipH="1">
              <a:off x="0" y="620713"/>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F42B400-4492-A35B-87E8-2B0682701BC8}"/>
                </a:ext>
              </a:extLst>
            </p:cNvPr>
            <p:cNvCxnSpPr>
              <a:cxnSpLocks/>
            </p:cNvCxnSpPr>
            <p:nvPr/>
          </p:nvCxnSpPr>
          <p:spPr>
            <a:xfrm flipH="1">
              <a:off x="0" y="136207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C6538406-580F-0FC4-D82E-79DBB34BBAEE}"/>
                </a:ext>
              </a:extLst>
            </p:cNvPr>
            <p:cNvCxnSpPr>
              <a:cxnSpLocks/>
            </p:cNvCxnSpPr>
            <p:nvPr/>
          </p:nvCxnSpPr>
          <p:spPr>
            <a:xfrm flipH="1">
              <a:off x="0" y="1773239"/>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A402162-1FA9-A478-79F3-7575F7E36D85}"/>
                </a:ext>
              </a:extLst>
            </p:cNvPr>
            <p:cNvCxnSpPr>
              <a:cxnSpLocks/>
            </p:cNvCxnSpPr>
            <p:nvPr/>
          </p:nvCxnSpPr>
          <p:spPr>
            <a:xfrm flipH="1">
              <a:off x="0" y="6129338"/>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D5BD0737-B925-188B-1F21-613010EA8903}"/>
                </a:ext>
              </a:extLst>
            </p:cNvPr>
            <p:cNvCxnSpPr>
              <a:cxnSpLocks/>
            </p:cNvCxnSpPr>
            <p:nvPr/>
          </p:nvCxnSpPr>
          <p:spPr>
            <a:xfrm flipH="1">
              <a:off x="0" y="6308725"/>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64C84D8-9757-12F9-3363-B324C85962AF}"/>
                </a:ext>
              </a:extLst>
            </p:cNvPr>
            <p:cNvCxnSpPr>
              <a:cxnSpLocks/>
            </p:cNvCxnSpPr>
            <p:nvPr/>
          </p:nvCxnSpPr>
          <p:spPr>
            <a:xfrm flipH="1">
              <a:off x="0" y="6597650"/>
              <a:ext cx="1219200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EF379158-8A61-991F-F659-8CFC90CB6C1B}"/>
              </a:ext>
            </a:extLst>
          </p:cNvPr>
          <p:cNvSpPr>
            <a:spLocks noGrp="1"/>
          </p:cNvSpPr>
          <p:nvPr>
            <p:ph type="title"/>
          </p:nvPr>
        </p:nvSpPr>
        <p:spPr/>
        <p:txBody>
          <a:bodyPr vert="horz"/>
          <a:lstStyle/>
          <a:p>
            <a:r>
              <a:rPr lang="de-DE" dirty="0"/>
              <a:t>Das Gestaltungsraster</a:t>
            </a:r>
          </a:p>
        </p:txBody>
      </p:sp>
      <p:sp>
        <p:nvSpPr>
          <p:cNvPr id="6" name="Rechteck 5">
            <a:extLst>
              <a:ext uri="{FF2B5EF4-FFF2-40B4-BE49-F238E27FC236}">
                <a16:creationId xmlns:a16="http://schemas.microsoft.com/office/drawing/2014/main" id="{11573B89-DAF1-F46D-8FBC-D5D461A8463F}"/>
              </a:ext>
            </a:extLst>
          </p:cNvPr>
          <p:cNvSpPr>
            <a:spLocks/>
          </p:cNvSpPr>
          <p:nvPr/>
        </p:nvSpPr>
        <p:spPr>
          <a:xfrm>
            <a:off x="623888" y="1773238"/>
            <a:ext cx="11233150" cy="4356100"/>
          </a:xfrm>
          <a:prstGeom prst="rect">
            <a:avLst/>
          </a:prstGeom>
          <a:solidFill>
            <a:schemeClr val="tx2">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2000" dirty="0">
                <a:solidFill>
                  <a:schemeClr val="tx1"/>
                </a:solidFill>
              </a:rPr>
              <a:t>Das ist der </a:t>
            </a:r>
            <a:br>
              <a:rPr lang="de-DE" sz="2000" dirty="0">
                <a:solidFill>
                  <a:schemeClr val="tx1"/>
                </a:solidFill>
              </a:rPr>
            </a:br>
            <a:r>
              <a:rPr lang="de-DE" sz="2000" b="1" dirty="0">
                <a:solidFill>
                  <a:schemeClr val="tx1"/>
                </a:solidFill>
              </a:rPr>
              <a:t>Inhaltsbereich</a:t>
            </a:r>
          </a:p>
        </p:txBody>
      </p:sp>
      <p:cxnSp>
        <p:nvCxnSpPr>
          <p:cNvPr id="8" name="Gerader Verbinder 7">
            <a:extLst>
              <a:ext uri="{FF2B5EF4-FFF2-40B4-BE49-F238E27FC236}">
                <a16:creationId xmlns:a16="http://schemas.microsoft.com/office/drawing/2014/main" id="{D8387445-11BE-B585-459B-3C8D81D3F800}"/>
              </a:ext>
            </a:extLst>
          </p:cNvPr>
          <p:cNvCxnSpPr>
            <a:cxnSpLocks/>
          </p:cNvCxnSpPr>
          <p:nvPr/>
        </p:nvCxnSpPr>
        <p:spPr>
          <a:xfrm>
            <a:off x="7137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185A72A4-1C31-C319-51A4-96C50BB0C9DA}"/>
              </a:ext>
            </a:extLst>
          </p:cNvPr>
          <p:cNvCxnSpPr>
            <a:cxnSpLocks/>
          </p:cNvCxnSpPr>
          <p:nvPr/>
        </p:nvCxnSpPr>
        <p:spPr>
          <a:xfrm flipH="1">
            <a:off x="914400" y="3951288"/>
            <a:ext cx="4432300" cy="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6865F4B4-EDBC-E044-20A8-C4335A14A012}"/>
              </a:ext>
            </a:extLst>
          </p:cNvPr>
          <p:cNvCxnSpPr>
            <a:cxnSpLocks/>
          </p:cNvCxnSpPr>
          <p:nvPr/>
        </p:nvCxnSpPr>
        <p:spPr>
          <a:xfrm flipV="1">
            <a:off x="6240463" y="20320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EDE4D10-2AB8-E472-B2BA-BCF7CD55000F}"/>
              </a:ext>
            </a:extLst>
          </p:cNvPr>
          <p:cNvCxnSpPr>
            <a:cxnSpLocks/>
          </p:cNvCxnSpPr>
          <p:nvPr/>
        </p:nvCxnSpPr>
        <p:spPr>
          <a:xfrm>
            <a:off x="6240463" y="4368800"/>
            <a:ext cx="0" cy="1511300"/>
          </a:xfrm>
          <a:prstGeom prst="line">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E67A273F-941E-7F1B-15B4-CB5D0A42944F}"/>
              </a:ext>
            </a:extLst>
          </p:cNvPr>
          <p:cNvSpPr>
            <a:spLocks/>
          </p:cNvSpPr>
          <p:nvPr/>
        </p:nvSpPr>
        <p:spPr>
          <a:xfrm>
            <a:off x="623888" y="1362075"/>
            <a:ext cx="11233150" cy="4111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de-DE" sz="1400" dirty="0"/>
              <a:t>Bei </a:t>
            </a:r>
            <a:r>
              <a:rPr lang="de-DE" sz="1400" b="1" dirty="0"/>
              <a:t>einzeiliger Headline </a:t>
            </a:r>
            <a:r>
              <a:rPr lang="de-DE" sz="1400" dirty="0"/>
              <a:t>darf der Inhaltsbereich nach oben erweitert werden.</a:t>
            </a:r>
            <a:endParaRPr lang="de-DE" sz="1400" b="1" dirty="0"/>
          </a:p>
        </p:txBody>
      </p:sp>
      <p:sp>
        <p:nvSpPr>
          <p:cNvPr id="30" name="Textfeld 29">
            <a:extLst>
              <a:ext uri="{FF2B5EF4-FFF2-40B4-BE49-F238E27FC236}">
                <a16:creationId xmlns:a16="http://schemas.microsoft.com/office/drawing/2014/main" id="{98E1707B-E485-9E05-2F27-781D199B70C8}"/>
              </a:ext>
            </a:extLst>
          </p:cNvPr>
          <p:cNvSpPr txBox="1"/>
          <p:nvPr/>
        </p:nvSpPr>
        <p:spPr>
          <a:xfrm>
            <a:off x="623888" y="6154838"/>
            <a:ext cx="5668962" cy="153888"/>
          </a:xfrm>
          <a:prstGeom prst="rect">
            <a:avLst/>
          </a:prstGeom>
          <a:noFill/>
        </p:spPr>
        <p:txBody>
          <a:bodyPr wrap="square" lIns="0" tIns="0" rIns="0" bIns="0" rtlCol="0" anchor="b">
            <a:noAutofit/>
          </a:bodyPr>
          <a:lstStyle/>
          <a:p>
            <a:pPr algn="l"/>
            <a:r>
              <a:rPr lang="de-DE" sz="1000" b="1" dirty="0"/>
              <a:t>1</a:t>
            </a:r>
            <a:r>
              <a:rPr lang="de-DE" sz="1000" dirty="0"/>
              <a:t> Hier ist Platz für die Fußnote, 10 pt.</a:t>
            </a:r>
          </a:p>
        </p:txBody>
      </p:sp>
      <p:sp>
        <p:nvSpPr>
          <p:cNvPr id="31" name="Fußzeilenplatzhalter 30">
            <a:extLst>
              <a:ext uri="{FF2B5EF4-FFF2-40B4-BE49-F238E27FC236}">
                <a16:creationId xmlns:a16="http://schemas.microsoft.com/office/drawing/2014/main" id="{A2F14FA9-7328-5E60-0595-30632CE0FA38}"/>
              </a:ext>
            </a:extLst>
          </p:cNvPr>
          <p:cNvSpPr>
            <a:spLocks noGrp="1"/>
          </p:cNvSpPr>
          <p:nvPr>
            <p:ph type="ftr" sz="quarter" idx="10"/>
          </p:nvPr>
        </p:nvSpPr>
        <p:spPr/>
        <p:txBody>
          <a:bodyPr/>
          <a:lstStyle/>
          <a:p>
            <a:r>
              <a:rPr lang="de-DE" dirty="0"/>
              <a:t>© msg digital | Titel einfügen | 2024</a:t>
            </a:r>
          </a:p>
        </p:txBody>
      </p:sp>
      <p:sp>
        <p:nvSpPr>
          <p:cNvPr id="32" name="Foliennummernplatzhalter 31">
            <a:extLst>
              <a:ext uri="{FF2B5EF4-FFF2-40B4-BE49-F238E27FC236}">
                <a16:creationId xmlns:a16="http://schemas.microsoft.com/office/drawing/2014/main" id="{D7E526B8-B68A-4288-ECF7-2E96E5F94799}"/>
              </a:ext>
            </a:extLst>
          </p:cNvPr>
          <p:cNvSpPr>
            <a:spLocks noGrp="1"/>
          </p:cNvSpPr>
          <p:nvPr>
            <p:ph type="sldNum" sz="quarter" idx="11"/>
          </p:nvPr>
        </p:nvSpPr>
        <p:spPr/>
        <p:txBody>
          <a:bodyPr/>
          <a:lstStyle/>
          <a:p>
            <a:fld id="{1FBD72F1-A42A-46B0-A7F8-CE6A9835826C}" type="slidenum">
              <a:rPr lang="de-DE" smtClean="0"/>
              <a:pPr/>
              <a:t>6</a:t>
            </a:fld>
            <a:endParaRPr lang="de-DE" dirty="0"/>
          </a:p>
        </p:txBody>
      </p:sp>
    </p:spTree>
    <p:extLst>
      <p:ext uri="{BB962C8B-B14F-4D97-AF65-F5344CB8AC3E}">
        <p14:creationId xmlns:p14="http://schemas.microsoft.com/office/powerpoint/2010/main" val="3264082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A549BF-0053-25B9-F3F8-BB993E68FC89}"/>
              </a:ext>
            </a:extLst>
          </p:cNvPr>
          <p:cNvGraphicFramePr>
            <a:graphicFrameLocks noChangeAspect="1"/>
          </p:cNvGraphicFramePr>
          <p:nvPr>
            <p:custDataLst>
              <p:tags r:id="rId1"/>
            </p:custDataLst>
            <p:extLst>
              <p:ext uri="{D42A27DB-BD31-4B8C-83A1-F6EECF244321}">
                <p14:modId xmlns:p14="http://schemas.microsoft.com/office/powerpoint/2010/main" val="143441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09A549BF-0053-25B9-F3F8-BB993E68FC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1090F5-4486-C50C-EDEA-B5E4A1C805C3}"/>
              </a:ext>
            </a:extLst>
          </p:cNvPr>
          <p:cNvSpPr>
            <a:spLocks noGrp="1"/>
          </p:cNvSpPr>
          <p:nvPr>
            <p:ph type="title"/>
          </p:nvPr>
        </p:nvSpPr>
        <p:spPr/>
        <p:txBody>
          <a:bodyPr vert="horz"/>
          <a:lstStyle/>
          <a:p>
            <a:r>
              <a:rPr lang="de-DE" sz="2400" b="1" dirty="0">
                <a:ea typeface="Akkurat LL Thin" panose="020B0404020101010102" pitchFamily="34" charset="-126"/>
                <a:cs typeface="Akkurat LL Thin" panose="020B0404020101010102" pitchFamily="34" charset="-126"/>
              </a:rPr>
              <a:t>10 Standardfarben </a:t>
            </a:r>
            <a:r>
              <a:rPr lang="de-DE" sz="2400" dirty="0">
                <a:latin typeface="+mj-lt"/>
                <a:ea typeface="Akkurat LL Thin" panose="020B0404020101010102" pitchFamily="34" charset="-126"/>
                <a:cs typeface="Akkurat LL Thin" panose="020B0404020101010102" pitchFamily="34" charset="-126"/>
              </a:rPr>
              <a:t>als Farbset für den</a:t>
            </a:r>
            <a:br>
              <a:rPr lang="de-DE" sz="2400" dirty="0">
                <a:latin typeface="+mj-lt"/>
                <a:ea typeface="Akkurat LL Thin" panose="020B0404020101010102" pitchFamily="34" charset="-126"/>
                <a:cs typeface="Akkurat LL Thin" panose="020B0404020101010102" pitchFamily="34" charset="-126"/>
              </a:rPr>
            </a:br>
            <a:r>
              <a:rPr lang="de-DE" sz="2400" dirty="0">
                <a:latin typeface="+mj-lt"/>
                <a:ea typeface="Akkurat LL Thin" panose="020B0404020101010102" pitchFamily="34" charset="-126"/>
                <a:cs typeface="Akkurat LL Thin" panose="020B0404020101010102" pitchFamily="34" charset="-126"/>
              </a:rPr>
              <a:t>Power Point Master.</a:t>
            </a:r>
            <a:endParaRPr lang="de-DE" sz="2400" dirty="0">
              <a:latin typeface="+mj-lt"/>
              <a:ea typeface="Akkurat LL" panose="020B0504020101010102" pitchFamily="34" charset="-126"/>
              <a:cs typeface="Akkurat LL" panose="020B0504020101010102" pitchFamily="34" charset="-126"/>
            </a:endParaRPr>
          </a:p>
        </p:txBody>
      </p:sp>
      <p:sp>
        <p:nvSpPr>
          <p:cNvPr id="3" name="Fußzeilenplatzhalter 2">
            <a:extLst>
              <a:ext uri="{FF2B5EF4-FFF2-40B4-BE49-F238E27FC236}">
                <a16:creationId xmlns:a16="http://schemas.microsoft.com/office/drawing/2014/main" id="{83CD9CE9-1C36-531E-BEC0-22A02BB5513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6017413-3451-58C5-D8A7-82F82E106B63}"/>
              </a:ext>
            </a:extLst>
          </p:cNvPr>
          <p:cNvSpPr>
            <a:spLocks noGrp="1"/>
          </p:cNvSpPr>
          <p:nvPr>
            <p:ph type="sldNum" sz="quarter" idx="11"/>
          </p:nvPr>
        </p:nvSpPr>
        <p:spPr/>
        <p:txBody>
          <a:bodyPr/>
          <a:lstStyle/>
          <a:p>
            <a:fld id="{1FBD72F1-A42A-46B0-A7F8-CE6A9835826C}" type="slidenum">
              <a:rPr lang="de-DE" smtClean="0"/>
              <a:pPr/>
              <a:t>7</a:t>
            </a:fld>
            <a:endParaRPr lang="de-DE" dirty="0"/>
          </a:p>
        </p:txBody>
      </p:sp>
      <p:sp>
        <p:nvSpPr>
          <p:cNvPr id="5" name="Textplatzhalter 4">
            <a:extLst>
              <a:ext uri="{FF2B5EF4-FFF2-40B4-BE49-F238E27FC236}">
                <a16:creationId xmlns:a16="http://schemas.microsoft.com/office/drawing/2014/main" id="{26C42A39-C902-DA14-5123-FAD0902916F3}"/>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8" name="Textfeld 7">
            <a:extLst>
              <a:ext uri="{FF2B5EF4-FFF2-40B4-BE49-F238E27FC236}">
                <a16:creationId xmlns:a16="http://schemas.microsoft.com/office/drawing/2014/main" id="{23085B70-502F-A8FD-65B8-6CD2B0A3EE32}"/>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9" name="Textplatzhalter 2">
            <a:extLst>
              <a:ext uri="{FF2B5EF4-FFF2-40B4-BE49-F238E27FC236}">
                <a16:creationId xmlns:a16="http://schemas.microsoft.com/office/drawing/2014/main" id="{74C038D3-77BC-FF85-7162-3505C8BC6050}"/>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0" name="Rechteck 9">
            <a:extLst>
              <a:ext uri="{FF2B5EF4-FFF2-40B4-BE49-F238E27FC236}">
                <a16:creationId xmlns:a16="http://schemas.microsoft.com/office/drawing/2014/main" id="{614C6662-9D8B-8C76-1CE9-976E31E9D88D}"/>
              </a:ext>
            </a:extLst>
          </p:cNvPr>
          <p:cNvSpPr>
            <a:spLocks/>
          </p:cNvSpPr>
          <p:nvPr/>
        </p:nvSpPr>
        <p:spPr>
          <a:xfrm>
            <a:off x="623887" y="2154238"/>
            <a:ext cx="1220352" cy="741362"/>
          </a:xfrm>
          <a:prstGeom prst="rect">
            <a:avLst/>
          </a:prstGeom>
          <a:solidFill>
            <a:schemeClr val="bg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1" name="Rechteck 10">
            <a:extLst>
              <a:ext uri="{FF2B5EF4-FFF2-40B4-BE49-F238E27FC236}">
                <a16:creationId xmlns:a16="http://schemas.microsoft.com/office/drawing/2014/main" id="{2AC55CA0-6F62-17F3-3D99-B44965772F59}"/>
              </a:ext>
            </a:extLst>
          </p:cNvPr>
          <p:cNvSpPr>
            <a:spLocks/>
          </p:cNvSpPr>
          <p:nvPr/>
        </p:nvSpPr>
        <p:spPr>
          <a:xfrm>
            <a:off x="2021563" y="2154238"/>
            <a:ext cx="1220352" cy="74136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2" name="Rechteck 11">
            <a:extLst>
              <a:ext uri="{FF2B5EF4-FFF2-40B4-BE49-F238E27FC236}">
                <a16:creationId xmlns:a16="http://schemas.microsoft.com/office/drawing/2014/main" id="{0243026D-8F22-EA94-4F5C-2DBBE5F82465}"/>
              </a:ext>
            </a:extLst>
          </p:cNvPr>
          <p:cNvSpPr>
            <a:spLocks/>
          </p:cNvSpPr>
          <p:nvPr/>
        </p:nvSpPr>
        <p:spPr>
          <a:xfrm>
            <a:off x="3419239" y="2154238"/>
            <a:ext cx="1220352" cy="74136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3" name="Rechteck 12">
            <a:extLst>
              <a:ext uri="{FF2B5EF4-FFF2-40B4-BE49-F238E27FC236}">
                <a16:creationId xmlns:a16="http://schemas.microsoft.com/office/drawing/2014/main" id="{612E8E09-6FBE-240E-786B-5BD5053F378B}"/>
              </a:ext>
            </a:extLst>
          </p:cNvPr>
          <p:cNvSpPr>
            <a:spLocks/>
          </p:cNvSpPr>
          <p:nvPr/>
        </p:nvSpPr>
        <p:spPr>
          <a:xfrm>
            <a:off x="6214590" y="2154238"/>
            <a:ext cx="1220352" cy="74136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4" name="Rechteck 13">
            <a:extLst>
              <a:ext uri="{FF2B5EF4-FFF2-40B4-BE49-F238E27FC236}">
                <a16:creationId xmlns:a16="http://schemas.microsoft.com/office/drawing/2014/main" id="{A276D0BD-05BC-220F-3639-1F48C20C42CE}"/>
              </a:ext>
            </a:extLst>
          </p:cNvPr>
          <p:cNvSpPr>
            <a:spLocks/>
          </p:cNvSpPr>
          <p:nvPr/>
        </p:nvSpPr>
        <p:spPr>
          <a:xfrm>
            <a:off x="4816914" y="2154238"/>
            <a:ext cx="1220352" cy="74136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solidFill>
                <a:schemeClr val="tx1"/>
              </a:solidFill>
            </a:endParaRPr>
          </a:p>
        </p:txBody>
      </p:sp>
      <p:sp>
        <p:nvSpPr>
          <p:cNvPr id="15" name="Rechteck 14">
            <a:extLst>
              <a:ext uri="{FF2B5EF4-FFF2-40B4-BE49-F238E27FC236}">
                <a16:creationId xmlns:a16="http://schemas.microsoft.com/office/drawing/2014/main" id="{B5685E14-03D7-330C-466C-BDFA7BB96916}"/>
              </a:ext>
            </a:extLst>
          </p:cNvPr>
          <p:cNvSpPr>
            <a:spLocks/>
          </p:cNvSpPr>
          <p:nvPr/>
        </p:nvSpPr>
        <p:spPr>
          <a:xfrm>
            <a:off x="623887" y="4115935"/>
            <a:ext cx="1220352" cy="74136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6" name="Rechteck 15">
            <a:extLst>
              <a:ext uri="{FF2B5EF4-FFF2-40B4-BE49-F238E27FC236}">
                <a16:creationId xmlns:a16="http://schemas.microsoft.com/office/drawing/2014/main" id="{6BBBC071-1311-66C2-539A-35D67D0A4AC7}"/>
              </a:ext>
            </a:extLst>
          </p:cNvPr>
          <p:cNvSpPr>
            <a:spLocks/>
          </p:cNvSpPr>
          <p:nvPr/>
        </p:nvSpPr>
        <p:spPr>
          <a:xfrm>
            <a:off x="2021563" y="4115935"/>
            <a:ext cx="1220352" cy="7413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7" name="Rechteck 16">
            <a:extLst>
              <a:ext uri="{FF2B5EF4-FFF2-40B4-BE49-F238E27FC236}">
                <a16:creationId xmlns:a16="http://schemas.microsoft.com/office/drawing/2014/main" id="{BE15BB06-253A-7757-D47F-1D726590B46E}"/>
              </a:ext>
            </a:extLst>
          </p:cNvPr>
          <p:cNvSpPr>
            <a:spLocks/>
          </p:cNvSpPr>
          <p:nvPr/>
        </p:nvSpPr>
        <p:spPr>
          <a:xfrm>
            <a:off x="3419239" y="4115935"/>
            <a:ext cx="1220352" cy="74136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8" name="Rechteck 17">
            <a:extLst>
              <a:ext uri="{FF2B5EF4-FFF2-40B4-BE49-F238E27FC236}">
                <a16:creationId xmlns:a16="http://schemas.microsoft.com/office/drawing/2014/main" id="{412194C0-641A-06CF-9E93-713C872C0EE4}"/>
              </a:ext>
            </a:extLst>
          </p:cNvPr>
          <p:cNvSpPr>
            <a:spLocks/>
          </p:cNvSpPr>
          <p:nvPr/>
        </p:nvSpPr>
        <p:spPr>
          <a:xfrm>
            <a:off x="4816914" y="4115935"/>
            <a:ext cx="1220352" cy="74136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19" name="Rechteck 18">
            <a:extLst>
              <a:ext uri="{FF2B5EF4-FFF2-40B4-BE49-F238E27FC236}">
                <a16:creationId xmlns:a16="http://schemas.microsoft.com/office/drawing/2014/main" id="{97AB8402-7F0D-FB5F-1D9A-9CB49BD4E977}"/>
              </a:ext>
            </a:extLst>
          </p:cNvPr>
          <p:cNvSpPr>
            <a:spLocks/>
          </p:cNvSpPr>
          <p:nvPr/>
        </p:nvSpPr>
        <p:spPr>
          <a:xfrm>
            <a:off x="6214590" y="4115935"/>
            <a:ext cx="1220352" cy="741362"/>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400" b="1" dirty="0"/>
          </a:p>
        </p:txBody>
      </p:sp>
      <p:sp>
        <p:nvSpPr>
          <p:cNvPr id="21" name="Textfeld 20">
            <a:extLst>
              <a:ext uri="{FF2B5EF4-FFF2-40B4-BE49-F238E27FC236}">
                <a16:creationId xmlns:a16="http://schemas.microsoft.com/office/drawing/2014/main" id="{CEE26DDF-CD9A-E2C9-9CFC-871529981D15}"/>
              </a:ext>
            </a:extLst>
          </p:cNvPr>
          <p:cNvSpPr txBox="1"/>
          <p:nvPr/>
        </p:nvSpPr>
        <p:spPr>
          <a:xfrm>
            <a:off x="623888" y="1773238"/>
            <a:ext cx="6351814" cy="246221"/>
          </a:xfrm>
          <a:prstGeom prst="rect">
            <a:avLst/>
          </a:prstGeom>
          <a:noFill/>
        </p:spPr>
        <p:txBody>
          <a:bodyPr wrap="square" lIns="0" tIns="0" rIns="0" bIns="0">
            <a:noAutofit/>
          </a:bodyPr>
          <a:lstStyle/>
          <a:p>
            <a:r>
              <a:rPr lang="de-DE" sz="1600" b="1" dirty="0"/>
              <a:t>Primärfarben</a:t>
            </a:r>
            <a:r>
              <a:rPr lang="de-DE" sz="1600" dirty="0"/>
              <a:t> für Text, Aufzählungspunkte und Hervorhebungen</a:t>
            </a:r>
          </a:p>
        </p:txBody>
      </p:sp>
      <p:sp>
        <p:nvSpPr>
          <p:cNvPr id="22" name="Textfeld 21">
            <a:extLst>
              <a:ext uri="{FF2B5EF4-FFF2-40B4-BE49-F238E27FC236}">
                <a16:creationId xmlns:a16="http://schemas.microsoft.com/office/drawing/2014/main" id="{2D26107D-BF9C-24BD-B521-7E65DDAF798A}"/>
              </a:ext>
            </a:extLst>
          </p:cNvPr>
          <p:cNvSpPr txBox="1"/>
          <p:nvPr/>
        </p:nvSpPr>
        <p:spPr>
          <a:xfrm>
            <a:off x="623888" y="3755572"/>
            <a:ext cx="6351814" cy="246221"/>
          </a:xfrm>
          <a:prstGeom prst="rect">
            <a:avLst/>
          </a:prstGeom>
          <a:noFill/>
        </p:spPr>
        <p:txBody>
          <a:bodyPr wrap="square" lIns="0" tIns="0" rIns="0" bIns="0">
            <a:noAutofit/>
          </a:bodyPr>
          <a:lstStyle/>
          <a:p>
            <a:r>
              <a:rPr lang="de-DE" sz="1600" b="1" dirty="0"/>
              <a:t>Sekundärfarben</a:t>
            </a:r>
            <a:r>
              <a:rPr lang="de-DE" sz="1600" dirty="0"/>
              <a:t> für komplexe Grafiken, Schaubilder und Diagramme</a:t>
            </a:r>
          </a:p>
        </p:txBody>
      </p:sp>
      <p:grpSp>
        <p:nvGrpSpPr>
          <p:cNvPr id="38" name="Gruppieren 37">
            <a:extLst>
              <a:ext uri="{FF2B5EF4-FFF2-40B4-BE49-F238E27FC236}">
                <a16:creationId xmlns:a16="http://schemas.microsoft.com/office/drawing/2014/main" id="{CDC0BC75-80B8-2887-F4E5-6993885451B4}"/>
              </a:ext>
            </a:extLst>
          </p:cNvPr>
          <p:cNvGrpSpPr/>
          <p:nvPr/>
        </p:nvGrpSpPr>
        <p:grpSpPr>
          <a:xfrm>
            <a:off x="8013903" y="2154237"/>
            <a:ext cx="3843135" cy="2703059"/>
            <a:chOff x="8013903" y="2154237"/>
            <a:chExt cx="3843135" cy="2703059"/>
          </a:xfrm>
        </p:grpSpPr>
        <p:sp>
          <p:nvSpPr>
            <p:cNvPr id="31" name="Textfeld 30">
              <a:extLst>
                <a:ext uri="{FF2B5EF4-FFF2-40B4-BE49-F238E27FC236}">
                  <a16:creationId xmlns:a16="http://schemas.microsoft.com/office/drawing/2014/main" id="{A6422B72-3D7E-5FE5-4F79-9359A234AB47}"/>
                </a:ext>
              </a:extLst>
            </p:cNvPr>
            <p:cNvSpPr txBox="1"/>
            <p:nvPr/>
          </p:nvSpPr>
          <p:spPr>
            <a:xfrm>
              <a:off x="10303410" y="2549524"/>
              <a:ext cx="1553628" cy="861774"/>
            </a:xfrm>
            <a:prstGeom prst="rect">
              <a:avLst/>
            </a:prstGeom>
            <a:noFill/>
          </p:spPr>
          <p:txBody>
            <a:bodyPr wrap="square" lIns="0" tIns="0" rIns="0" bIns="0">
              <a:noAutofit/>
            </a:bodyPr>
            <a:lstStyle/>
            <a:p>
              <a:r>
                <a:rPr lang="de-DE" sz="1200" dirty="0"/>
                <a:t>Zum Färben von Elementen bitte nur </a:t>
              </a:r>
              <a:br>
                <a:rPr lang="de-DE" sz="1200" dirty="0"/>
              </a:br>
              <a:r>
                <a:rPr lang="de-DE" sz="1200" dirty="0"/>
                <a:t>die </a:t>
              </a:r>
              <a:r>
                <a:rPr lang="de-DE" sz="1200" b="1" dirty="0"/>
                <a:t>10 Designfarben </a:t>
              </a:r>
              <a:r>
                <a:rPr lang="de-DE" sz="1200" dirty="0"/>
                <a:t>verwenden.</a:t>
              </a:r>
            </a:p>
          </p:txBody>
        </p:sp>
        <p:grpSp>
          <p:nvGrpSpPr>
            <p:cNvPr id="35" name="Gruppieren 34">
              <a:extLst>
                <a:ext uri="{FF2B5EF4-FFF2-40B4-BE49-F238E27FC236}">
                  <a16:creationId xmlns:a16="http://schemas.microsoft.com/office/drawing/2014/main" id="{8054BE7F-500A-35F6-6D5D-10C95B467EC3}"/>
                </a:ext>
              </a:extLst>
            </p:cNvPr>
            <p:cNvGrpSpPr/>
            <p:nvPr/>
          </p:nvGrpSpPr>
          <p:grpSpPr>
            <a:xfrm>
              <a:off x="8013903" y="2154237"/>
              <a:ext cx="2014334" cy="2703059"/>
              <a:chOff x="8132966" y="2154237"/>
              <a:chExt cx="2014334" cy="2703059"/>
            </a:xfrm>
          </p:grpSpPr>
          <p:pic>
            <p:nvPicPr>
              <p:cNvPr id="28" name="Grafik 27">
                <a:extLst>
                  <a:ext uri="{FF2B5EF4-FFF2-40B4-BE49-F238E27FC236}">
                    <a16:creationId xmlns:a16="http://schemas.microsoft.com/office/drawing/2014/main" id="{4C7DEA11-69A2-BDC1-3B4D-644E29472AF5}"/>
                  </a:ext>
                </a:extLst>
              </p:cNvPr>
              <p:cNvPicPr>
                <a:picLocks noChangeAspect="1"/>
              </p:cNvPicPr>
              <p:nvPr/>
            </p:nvPicPr>
            <p:blipFill rotWithShape="1">
              <a:blip r:embed="rId6">
                <a:extLst>
                  <a:ext uri="{28A0092B-C50C-407E-A947-70E740481C1C}">
                    <a14:useLocalDpi xmlns:a14="http://schemas.microsoft.com/office/drawing/2010/main" val="0"/>
                  </a:ext>
                </a:extLst>
              </a:blip>
              <a:stretch/>
            </p:blipFill>
            <p:spPr>
              <a:xfrm>
                <a:off x="8298602" y="2266951"/>
                <a:ext cx="1702114" cy="2477632"/>
              </a:xfrm>
              <a:prstGeom prst="rect">
                <a:avLst/>
              </a:prstGeom>
            </p:spPr>
          </p:pic>
          <p:sp>
            <p:nvSpPr>
              <p:cNvPr id="29" name="Rechteck 28">
                <a:extLst>
                  <a:ext uri="{FF2B5EF4-FFF2-40B4-BE49-F238E27FC236}">
                    <a16:creationId xmlns:a16="http://schemas.microsoft.com/office/drawing/2014/main" id="{C2C70DE1-E305-3425-3E90-5777F079A4D7}"/>
                  </a:ext>
                </a:extLst>
              </p:cNvPr>
              <p:cNvSpPr>
                <a:spLocks/>
              </p:cNvSpPr>
              <p:nvPr/>
            </p:nvSpPr>
            <p:spPr>
              <a:xfrm>
                <a:off x="8132966" y="2154237"/>
                <a:ext cx="2014334" cy="2703059"/>
              </a:xfrm>
              <a:prstGeom prst="rect">
                <a:avLst/>
              </a:prstGeom>
              <a:no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2" name="Rechteck 31">
                <a:extLst>
                  <a:ext uri="{FF2B5EF4-FFF2-40B4-BE49-F238E27FC236}">
                    <a16:creationId xmlns:a16="http://schemas.microsoft.com/office/drawing/2014/main" id="{CD9990D0-4251-095E-DBC9-6F13DD633601}"/>
                  </a:ext>
                </a:extLst>
              </p:cNvPr>
              <p:cNvSpPr/>
              <p:nvPr/>
            </p:nvSpPr>
            <p:spPr>
              <a:xfrm>
                <a:off x="8298602" y="2805113"/>
                <a:ext cx="1716937" cy="1300162"/>
              </a:xfrm>
              <a:prstGeom prst="rect">
                <a:avLst/>
              </a:prstGeom>
              <a:solidFill>
                <a:schemeClr val="bg1">
                  <a:alpha val="7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33" name="Rechteck 32">
                <a:extLst>
                  <a:ext uri="{FF2B5EF4-FFF2-40B4-BE49-F238E27FC236}">
                    <a16:creationId xmlns:a16="http://schemas.microsoft.com/office/drawing/2014/main" id="{9DC61CFD-0D68-4F11-DA56-A651B1C3D56C}"/>
                  </a:ext>
                </a:extLst>
              </p:cNvPr>
              <p:cNvSpPr/>
              <p:nvPr/>
            </p:nvSpPr>
            <p:spPr>
              <a:xfrm>
                <a:off x="8220075" y="2500312"/>
                <a:ext cx="1833563" cy="266700"/>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cxnSp>
          <p:nvCxnSpPr>
            <p:cNvPr id="37" name="Gerader Verbinder 36">
              <a:extLst>
                <a:ext uri="{FF2B5EF4-FFF2-40B4-BE49-F238E27FC236}">
                  <a16:creationId xmlns:a16="http://schemas.microsoft.com/office/drawing/2014/main" id="{DE9A66D1-404F-DCD0-F855-6AF34CCE1B97}"/>
                </a:ext>
              </a:extLst>
            </p:cNvPr>
            <p:cNvCxnSpPr>
              <a:cxnSpLocks/>
            </p:cNvCxnSpPr>
            <p:nvPr/>
          </p:nvCxnSpPr>
          <p:spPr>
            <a:xfrm>
              <a:off x="9934575" y="2633662"/>
              <a:ext cx="276225" cy="0"/>
            </a:xfrm>
            <a:prstGeom prst="line">
              <a:avLst/>
            </a:prstGeom>
            <a:noFill/>
            <a:ln>
              <a:solidFill>
                <a:schemeClr val="accent4"/>
              </a:solidFill>
              <a:tailEnd type="triangle"/>
            </a:ln>
          </p:spPr>
          <p:style>
            <a:lnRef idx="2">
              <a:schemeClr val="accent1">
                <a:shade val="15000"/>
              </a:schemeClr>
            </a:lnRef>
            <a:fillRef idx="1">
              <a:schemeClr val="accent1"/>
            </a:fillRef>
            <a:effectRef idx="0">
              <a:schemeClr val="accent1"/>
            </a:effectRef>
            <a:fontRef idx="minor">
              <a:schemeClr val="lt1"/>
            </a:fontRef>
          </p:style>
        </p:cxnSp>
      </p:grpSp>
      <p:sp>
        <p:nvSpPr>
          <p:cNvPr id="40" name="Textfeld 39">
            <a:extLst>
              <a:ext uri="{FF2B5EF4-FFF2-40B4-BE49-F238E27FC236}">
                <a16:creationId xmlns:a16="http://schemas.microsoft.com/office/drawing/2014/main" id="{5C6000B5-147C-0CEB-0527-9AA82749F8DB}"/>
              </a:ext>
            </a:extLst>
          </p:cNvPr>
          <p:cNvSpPr txBox="1">
            <a:spLocks/>
          </p:cNvSpPr>
          <p:nvPr/>
        </p:nvSpPr>
        <p:spPr>
          <a:xfrm>
            <a:off x="3419239"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Purpl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6339E2</a:t>
            </a:r>
          </a:p>
        </p:txBody>
      </p:sp>
      <p:sp>
        <p:nvSpPr>
          <p:cNvPr id="41" name="Textfeld 40">
            <a:extLst>
              <a:ext uri="{FF2B5EF4-FFF2-40B4-BE49-F238E27FC236}">
                <a16:creationId xmlns:a16="http://schemas.microsoft.com/office/drawing/2014/main" id="{F76B214F-7ABC-1494-9379-0A4F83F49BB8}"/>
              </a:ext>
            </a:extLst>
          </p:cNvPr>
          <p:cNvSpPr txBox="1">
            <a:spLocks/>
          </p:cNvSpPr>
          <p:nvPr/>
        </p:nvSpPr>
        <p:spPr>
          <a:xfrm>
            <a:off x="4816914"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rimary Cya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2DFAFF</a:t>
            </a:r>
          </a:p>
        </p:txBody>
      </p:sp>
      <p:sp>
        <p:nvSpPr>
          <p:cNvPr id="42" name="Textfeld 41">
            <a:extLst>
              <a:ext uri="{FF2B5EF4-FFF2-40B4-BE49-F238E27FC236}">
                <a16:creationId xmlns:a16="http://schemas.microsoft.com/office/drawing/2014/main" id="{6DF428AB-8BCB-21F8-6644-F1B18BFE1659}"/>
              </a:ext>
            </a:extLst>
          </p:cNvPr>
          <p:cNvSpPr txBox="1">
            <a:spLocks/>
          </p:cNvSpPr>
          <p:nvPr/>
        </p:nvSpPr>
        <p:spPr>
          <a:xfrm>
            <a:off x="2021563"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Blac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00000</a:t>
            </a:r>
          </a:p>
        </p:txBody>
      </p:sp>
      <p:sp>
        <p:nvSpPr>
          <p:cNvPr id="43" name="Textfeld 42">
            <a:extLst>
              <a:ext uri="{FF2B5EF4-FFF2-40B4-BE49-F238E27FC236}">
                <a16:creationId xmlns:a16="http://schemas.microsoft.com/office/drawing/2014/main" id="{7D132218-17AB-7A83-9EB4-E885A920F874}"/>
              </a:ext>
            </a:extLst>
          </p:cNvPr>
          <p:cNvSpPr txBox="1">
            <a:spLocks/>
          </p:cNvSpPr>
          <p:nvPr/>
        </p:nvSpPr>
        <p:spPr>
          <a:xfrm>
            <a:off x="6214590" y="2975173"/>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y</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7F7F7F</a:t>
            </a:r>
          </a:p>
        </p:txBody>
      </p:sp>
      <p:sp>
        <p:nvSpPr>
          <p:cNvPr id="44" name="Textfeld 43">
            <a:extLst>
              <a:ext uri="{FF2B5EF4-FFF2-40B4-BE49-F238E27FC236}">
                <a16:creationId xmlns:a16="http://schemas.microsoft.com/office/drawing/2014/main" id="{CEC64859-B583-BB2D-EE66-C8E31050115E}"/>
              </a:ext>
            </a:extLst>
          </p:cNvPr>
          <p:cNvSpPr txBox="1">
            <a:spLocks/>
          </p:cNvSpPr>
          <p:nvPr/>
        </p:nvSpPr>
        <p:spPr>
          <a:xfrm>
            <a:off x="623887" y="2976561"/>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Whit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FFFFF</a:t>
            </a:r>
          </a:p>
        </p:txBody>
      </p:sp>
      <p:sp>
        <p:nvSpPr>
          <p:cNvPr id="45" name="Textfeld 44">
            <a:extLst>
              <a:ext uri="{FF2B5EF4-FFF2-40B4-BE49-F238E27FC236}">
                <a16:creationId xmlns:a16="http://schemas.microsoft.com/office/drawing/2014/main" id="{51D15916-CDDF-4444-1460-DC97DC18B858}"/>
              </a:ext>
            </a:extLst>
          </p:cNvPr>
          <p:cNvSpPr txBox="1">
            <a:spLocks/>
          </p:cNvSpPr>
          <p:nvPr/>
        </p:nvSpPr>
        <p:spPr>
          <a:xfrm>
            <a:off x="623887" y="4932380"/>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ink</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6338F</a:t>
            </a:r>
          </a:p>
        </p:txBody>
      </p:sp>
      <p:sp>
        <p:nvSpPr>
          <p:cNvPr id="46" name="Textfeld 45">
            <a:extLst>
              <a:ext uri="{FF2B5EF4-FFF2-40B4-BE49-F238E27FC236}">
                <a16:creationId xmlns:a16="http://schemas.microsoft.com/office/drawing/2014/main" id="{70BBA933-0A33-B003-88AA-919F386FA21C}"/>
              </a:ext>
            </a:extLst>
          </p:cNvPr>
          <p:cNvSpPr txBox="1">
            <a:spLocks/>
          </p:cNvSpPr>
          <p:nvPr/>
        </p:nvSpPr>
        <p:spPr>
          <a:xfrm>
            <a:off x="2021563"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Petrol</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038CC0</a:t>
            </a:r>
          </a:p>
        </p:txBody>
      </p:sp>
      <p:sp>
        <p:nvSpPr>
          <p:cNvPr id="47" name="Textfeld 46">
            <a:extLst>
              <a:ext uri="{FF2B5EF4-FFF2-40B4-BE49-F238E27FC236}">
                <a16:creationId xmlns:a16="http://schemas.microsoft.com/office/drawing/2014/main" id="{25D9E5CF-3707-E279-5B55-8A1B82583F2F}"/>
              </a:ext>
            </a:extLst>
          </p:cNvPr>
          <p:cNvSpPr txBox="1">
            <a:spLocks/>
          </p:cNvSpPr>
          <p:nvPr/>
        </p:nvSpPr>
        <p:spPr>
          <a:xfrm>
            <a:off x="3419239"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Red</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E7263B</a:t>
            </a:r>
          </a:p>
        </p:txBody>
      </p:sp>
      <p:sp>
        <p:nvSpPr>
          <p:cNvPr id="48" name="Textfeld 47">
            <a:extLst>
              <a:ext uri="{FF2B5EF4-FFF2-40B4-BE49-F238E27FC236}">
                <a16:creationId xmlns:a16="http://schemas.microsoft.com/office/drawing/2014/main" id="{3AAC1119-10A6-9269-118E-085A40465BDD}"/>
              </a:ext>
            </a:extLst>
          </p:cNvPr>
          <p:cNvSpPr txBox="1">
            <a:spLocks/>
          </p:cNvSpPr>
          <p:nvPr/>
        </p:nvSpPr>
        <p:spPr>
          <a:xfrm>
            <a:off x="4816914"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Orange</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F17525</a:t>
            </a:r>
          </a:p>
        </p:txBody>
      </p:sp>
      <p:sp>
        <p:nvSpPr>
          <p:cNvPr id="49" name="Textfeld 48">
            <a:extLst>
              <a:ext uri="{FF2B5EF4-FFF2-40B4-BE49-F238E27FC236}">
                <a16:creationId xmlns:a16="http://schemas.microsoft.com/office/drawing/2014/main" id="{91E846E1-FE31-EE9E-EE2E-BA8242549299}"/>
              </a:ext>
            </a:extLst>
          </p:cNvPr>
          <p:cNvSpPr txBox="1">
            <a:spLocks/>
          </p:cNvSpPr>
          <p:nvPr/>
        </p:nvSpPr>
        <p:spPr>
          <a:xfrm>
            <a:off x="6214590" y="4929604"/>
            <a:ext cx="1220351" cy="369332"/>
          </a:xfrm>
          <a:prstGeom prst="rect">
            <a:avLst/>
          </a:prstGeom>
          <a:noFill/>
        </p:spPr>
        <p:txBody>
          <a:bodyPr wrap="square" lIns="0" tIns="0" rIns="0" bIns="0" rtlCol="0">
            <a:spAutoFit/>
          </a:bodyPr>
          <a:lstStyle/>
          <a:p>
            <a:r>
              <a:rPr lang="de-DE" sz="1200" b="1" dirty="0">
                <a:ea typeface="Akkurat LL" panose="020B0504020101010102" pitchFamily="34" charset="-126"/>
                <a:cs typeface="Akkurat LL" panose="020B0504020101010102" pitchFamily="34" charset="-126"/>
              </a:rPr>
              <a:t>Green</a:t>
            </a:r>
            <a:br>
              <a:rPr lang="de-DE" sz="1200" dirty="0">
                <a:ea typeface="Akkurat LL" panose="020B0504020101010102" pitchFamily="34" charset="-126"/>
                <a:cs typeface="Akkurat LL" panose="020B0504020101010102" pitchFamily="34" charset="-126"/>
              </a:rPr>
            </a:br>
            <a:r>
              <a:rPr lang="de-DE" sz="1200" dirty="0">
                <a:ea typeface="Akkurat LL" panose="020B0504020101010102" pitchFamily="34" charset="-126"/>
                <a:cs typeface="Akkurat LL" panose="020B0504020101010102" pitchFamily="34" charset="-126"/>
              </a:rPr>
              <a:t>#55B647</a:t>
            </a:r>
          </a:p>
        </p:txBody>
      </p:sp>
    </p:spTree>
    <p:extLst>
      <p:ext uri="{BB962C8B-B14F-4D97-AF65-F5344CB8AC3E}">
        <p14:creationId xmlns:p14="http://schemas.microsoft.com/office/powerpoint/2010/main" val="3158592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31655D-403A-67BD-05C7-7E54B8D6D1A1}"/>
              </a:ext>
            </a:extLst>
          </p:cNvPr>
          <p:cNvGraphicFramePr>
            <a:graphicFrameLocks noChangeAspect="1"/>
          </p:cNvGraphicFramePr>
          <p:nvPr>
            <p:custDataLst>
              <p:tags r:id="rId1"/>
            </p:custDataLst>
            <p:extLst>
              <p:ext uri="{D42A27DB-BD31-4B8C-83A1-F6EECF244321}">
                <p14:modId xmlns:p14="http://schemas.microsoft.com/office/powerpoint/2010/main" val="211000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AF31655D-403A-67BD-05C7-7E54B8D6D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el 12">
            <a:extLst>
              <a:ext uri="{FF2B5EF4-FFF2-40B4-BE49-F238E27FC236}">
                <a16:creationId xmlns:a16="http://schemas.microsoft.com/office/drawing/2014/main" id="{6F7364D8-AD78-B3FE-6C59-E577F7C2A95A}"/>
              </a:ext>
            </a:extLst>
          </p:cNvPr>
          <p:cNvSpPr>
            <a:spLocks noGrp="1"/>
          </p:cNvSpPr>
          <p:nvPr>
            <p:ph type="title"/>
          </p:nvPr>
        </p:nvSpPr>
        <p:spPr/>
        <p:txBody>
          <a:bodyPr vert="horz"/>
          <a:lstStyle/>
          <a:p>
            <a:r>
              <a:rPr lang="de-DE" dirty="0"/>
              <a:t>Fußzeile formatieren</a:t>
            </a:r>
            <a:endParaRPr lang="de-DE" b="1" dirty="0"/>
          </a:p>
        </p:txBody>
      </p:sp>
      <p:sp>
        <p:nvSpPr>
          <p:cNvPr id="3" name="Fußzeilenplatzhalter 2">
            <a:extLst>
              <a:ext uri="{FF2B5EF4-FFF2-40B4-BE49-F238E27FC236}">
                <a16:creationId xmlns:a16="http://schemas.microsoft.com/office/drawing/2014/main" id="{FDD1D9A1-21F4-F6C0-5450-96230408BD61}"/>
              </a:ext>
            </a:extLst>
          </p:cNvPr>
          <p:cNvSpPr>
            <a:spLocks noGrp="1"/>
          </p:cNvSpPr>
          <p:nvPr>
            <p:ph type="ftr" sz="quarter" idx="10"/>
          </p:nvPr>
        </p:nvSpPr>
        <p:spPr/>
        <p:txBody>
          <a:bodyPr/>
          <a:lstStyle/>
          <a:p>
            <a:r>
              <a:rPr lang="de-DE" dirty="0"/>
              <a:t>© msg digital | Titel einfügen | 2024</a:t>
            </a:r>
          </a:p>
        </p:txBody>
      </p:sp>
      <p:sp>
        <p:nvSpPr>
          <p:cNvPr id="4" name="Foliennummernplatzhalter 3">
            <a:extLst>
              <a:ext uri="{FF2B5EF4-FFF2-40B4-BE49-F238E27FC236}">
                <a16:creationId xmlns:a16="http://schemas.microsoft.com/office/drawing/2014/main" id="{D38CC756-07AC-F7E1-8CE6-B8F7CDD07C51}"/>
              </a:ext>
            </a:extLst>
          </p:cNvPr>
          <p:cNvSpPr>
            <a:spLocks noGrp="1"/>
          </p:cNvSpPr>
          <p:nvPr>
            <p:ph type="sldNum" sz="quarter" idx="11"/>
          </p:nvPr>
        </p:nvSpPr>
        <p:spPr/>
        <p:txBody>
          <a:bodyPr/>
          <a:lstStyle/>
          <a:p>
            <a:fld id="{1FBD72F1-A42A-46B0-A7F8-CE6A9835826C}" type="slidenum">
              <a:rPr lang="de-DE" smtClean="0"/>
              <a:pPr/>
              <a:t>8</a:t>
            </a:fld>
            <a:endParaRPr lang="de-DE" dirty="0"/>
          </a:p>
        </p:txBody>
      </p:sp>
      <p:sp>
        <p:nvSpPr>
          <p:cNvPr id="14" name="Textplatzhalter 13">
            <a:extLst>
              <a:ext uri="{FF2B5EF4-FFF2-40B4-BE49-F238E27FC236}">
                <a16:creationId xmlns:a16="http://schemas.microsoft.com/office/drawing/2014/main" id="{E7572B82-0F16-5C79-4FF9-A43201B71364}"/>
              </a:ext>
            </a:extLst>
          </p:cNvPr>
          <p:cNvSpPr>
            <a:spLocks noGrp="1"/>
          </p:cNvSpPr>
          <p:nvPr>
            <p:ph type="body" sz="quarter" idx="12"/>
          </p:nvPr>
        </p:nvSpPr>
        <p:spPr>
          <a:xfrm>
            <a:off x="623888" y="296863"/>
            <a:ext cx="1267508" cy="241980"/>
          </a:xfrm>
        </p:spPr>
        <p:txBody>
          <a:bodyPr/>
          <a:lstStyle/>
          <a:p>
            <a:r>
              <a:rPr lang="de-DE" dirty="0"/>
              <a:t>Optionaler Subtitle</a:t>
            </a:r>
          </a:p>
        </p:txBody>
      </p:sp>
      <p:sp>
        <p:nvSpPr>
          <p:cNvPr id="39" name="Textfeld 38">
            <a:extLst>
              <a:ext uri="{FF2B5EF4-FFF2-40B4-BE49-F238E27FC236}">
                <a16:creationId xmlns:a16="http://schemas.microsoft.com/office/drawing/2014/main" id="{A8714B90-96A7-7567-D814-ECC7E7568FFF}"/>
              </a:ext>
            </a:extLst>
          </p:cNvPr>
          <p:cNvSpPr txBox="1">
            <a:spLocks/>
          </p:cNvSpPr>
          <p:nvPr/>
        </p:nvSpPr>
        <p:spPr>
          <a:xfrm>
            <a:off x="3336023" y="340909"/>
            <a:ext cx="5668962" cy="153888"/>
          </a:xfrm>
          <a:prstGeom prst="rect">
            <a:avLst/>
          </a:prstGeom>
          <a:noFill/>
        </p:spPr>
        <p:txBody>
          <a:bodyPr wrap="square" lIns="0" tIns="0" rIns="0" bIns="0" rtlCol="0" anchor="ctr">
            <a:noAutofit/>
          </a:bodyPr>
          <a:lstStyle/>
          <a:p>
            <a:pPr algn="l"/>
            <a:r>
              <a:rPr lang="de-DE" sz="1000" dirty="0"/>
              <a:t>Der Subtitel darf auf jedem Layout in </a:t>
            </a:r>
            <a:r>
              <a:rPr lang="de-DE" sz="1000" b="1" dirty="0"/>
              <a:t>Cyan</a:t>
            </a:r>
            <a:r>
              <a:rPr lang="de-DE" sz="1000" dirty="0"/>
              <a:t> umgefärbt werden. Die Textfarbe </a:t>
            </a:r>
            <a:r>
              <a:rPr lang="de-DE" sz="1000" b="1" dirty="0"/>
              <a:t>muss</a:t>
            </a:r>
            <a:r>
              <a:rPr lang="de-DE" sz="1000" dirty="0"/>
              <a:t> dann </a:t>
            </a:r>
            <a:r>
              <a:rPr lang="de-DE" sz="1000" b="1" dirty="0"/>
              <a:t>Schwarz</a:t>
            </a:r>
            <a:r>
              <a:rPr lang="de-DE" sz="1000" dirty="0"/>
              <a:t> sein.</a:t>
            </a:r>
          </a:p>
        </p:txBody>
      </p:sp>
      <p:sp>
        <p:nvSpPr>
          <p:cNvPr id="40" name="Textplatzhalter 2">
            <a:extLst>
              <a:ext uri="{FF2B5EF4-FFF2-40B4-BE49-F238E27FC236}">
                <a16:creationId xmlns:a16="http://schemas.microsoft.com/office/drawing/2014/main" id="{ADA36128-E92D-9D09-E72A-DF2EBD944FEB}"/>
              </a:ext>
            </a:extLst>
          </p:cNvPr>
          <p:cNvSpPr txBox="1">
            <a:spLocks/>
          </p:cNvSpPr>
          <p:nvPr/>
        </p:nvSpPr>
        <p:spPr bwMode="gray">
          <a:xfrm>
            <a:off x="1981200" y="296863"/>
            <a:ext cx="1267508" cy="241980"/>
          </a:xfrm>
          <a:prstGeom prst="rect">
            <a:avLst/>
          </a:prstGeom>
          <a:solidFill>
            <a:schemeClr val="accent1"/>
          </a:solidFill>
        </p:spPr>
        <p:txBody>
          <a:bodyPr vert="horz" wrap="none" lIns="72000" tIns="36000" rIns="72000" bIns="36000" rtlCol="0" anchor="ctr">
            <a:sp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1100" b="1" kern="1200">
                <a:solidFill>
                  <a:schemeClr val="bg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1"/>
                </a:solidFill>
                <a:latin typeface="+mn-lt"/>
                <a:ea typeface="+mn-ea"/>
                <a:cs typeface="+mn-cs"/>
              </a:defRPr>
            </a:lvl9pPr>
          </a:lstStyle>
          <a:p>
            <a:r>
              <a:rPr lang="de-DE" dirty="0">
                <a:solidFill>
                  <a:schemeClr val="tx1"/>
                </a:solidFill>
              </a:rPr>
              <a:t>Optionaler Subtitle</a:t>
            </a:r>
          </a:p>
        </p:txBody>
      </p:sp>
      <p:sp>
        <p:nvSpPr>
          <p:cNvPr id="16" name="Textfeld 15">
            <a:extLst>
              <a:ext uri="{FF2B5EF4-FFF2-40B4-BE49-F238E27FC236}">
                <a16:creationId xmlns:a16="http://schemas.microsoft.com/office/drawing/2014/main" id="{53EDAD12-9227-5F88-E4A8-FDE2CB423270}"/>
              </a:ext>
            </a:extLst>
          </p:cNvPr>
          <p:cNvSpPr txBox="1"/>
          <p:nvPr/>
        </p:nvSpPr>
        <p:spPr>
          <a:xfrm>
            <a:off x="5731409" y="1983467"/>
            <a:ext cx="2926816" cy="923330"/>
          </a:xfrm>
          <a:prstGeom prst="rect">
            <a:avLst/>
          </a:prstGeom>
          <a:noFill/>
        </p:spPr>
        <p:txBody>
          <a:bodyPr wrap="square" lIns="0" tIns="0" rIns="0" bIns="0">
            <a:noAutofit/>
          </a:bodyPr>
          <a:lstStyle/>
          <a:p>
            <a:pPr>
              <a:spcAft>
                <a:spcPts val="600"/>
              </a:spcAft>
            </a:pPr>
            <a:r>
              <a:rPr lang="de-DE" sz="1600" dirty="0"/>
              <a:t>Um die Fußzeile zu formatieren, gehen Sie zu:</a:t>
            </a:r>
          </a:p>
          <a:p>
            <a:pPr>
              <a:spcAft>
                <a:spcPts val="600"/>
              </a:spcAft>
            </a:pPr>
            <a:r>
              <a:rPr lang="de-DE" sz="1600" dirty="0"/>
              <a:t>&gt; Reiter </a:t>
            </a:r>
            <a:r>
              <a:rPr lang="de-DE" sz="1600" b="1" dirty="0"/>
              <a:t>Einfügen</a:t>
            </a:r>
          </a:p>
          <a:p>
            <a:pPr>
              <a:spcAft>
                <a:spcPts val="600"/>
              </a:spcAft>
            </a:pPr>
            <a:r>
              <a:rPr lang="de-DE" sz="1600" dirty="0"/>
              <a:t>&gt; Abschnitt </a:t>
            </a:r>
            <a:r>
              <a:rPr lang="de-DE" sz="1600" b="1" dirty="0"/>
              <a:t>Text</a:t>
            </a:r>
          </a:p>
          <a:p>
            <a:pPr>
              <a:spcAft>
                <a:spcPts val="600"/>
              </a:spcAft>
            </a:pPr>
            <a:r>
              <a:rPr lang="de-DE" sz="1600" dirty="0"/>
              <a:t>&gt; </a:t>
            </a:r>
            <a:r>
              <a:rPr lang="de-DE" sz="1600" b="1" dirty="0"/>
              <a:t>Kopf- und Fußzeile</a:t>
            </a:r>
          </a:p>
        </p:txBody>
      </p:sp>
      <p:grpSp>
        <p:nvGrpSpPr>
          <p:cNvPr id="19" name="Gruppieren 18">
            <a:extLst>
              <a:ext uri="{FF2B5EF4-FFF2-40B4-BE49-F238E27FC236}">
                <a16:creationId xmlns:a16="http://schemas.microsoft.com/office/drawing/2014/main" id="{09D93A5B-69D0-1188-BC49-5F686757A7C6}"/>
              </a:ext>
            </a:extLst>
          </p:cNvPr>
          <p:cNvGrpSpPr/>
          <p:nvPr/>
        </p:nvGrpSpPr>
        <p:grpSpPr>
          <a:xfrm>
            <a:off x="623889" y="1773239"/>
            <a:ext cx="4868861" cy="3100258"/>
            <a:chOff x="623889" y="1773239"/>
            <a:chExt cx="4868861" cy="3100258"/>
          </a:xfrm>
        </p:grpSpPr>
        <p:pic>
          <p:nvPicPr>
            <p:cNvPr id="15" name="Grafik 14">
              <a:extLst>
                <a:ext uri="{FF2B5EF4-FFF2-40B4-BE49-F238E27FC236}">
                  <a16:creationId xmlns:a16="http://schemas.microsoft.com/office/drawing/2014/main" id="{1CB7ECDA-1DF1-5710-976E-43DA6D7F55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23889" y="1773239"/>
              <a:ext cx="4868861" cy="3100258"/>
            </a:xfrm>
            <a:prstGeom prst="rect">
              <a:avLst/>
            </a:prstGeom>
          </p:spPr>
        </p:pic>
        <p:sp>
          <p:nvSpPr>
            <p:cNvPr id="17" name="Rechteck 16">
              <a:extLst>
                <a:ext uri="{FF2B5EF4-FFF2-40B4-BE49-F238E27FC236}">
                  <a16:creationId xmlns:a16="http://schemas.microsoft.com/office/drawing/2014/main" id="{2150BB7D-86C9-0945-41B9-55E30FCB65CD}"/>
                </a:ext>
              </a:extLst>
            </p:cNvPr>
            <p:cNvSpPr/>
            <p:nvPr/>
          </p:nvSpPr>
          <p:spPr>
            <a:xfrm>
              <a:off x="777875" y="3567111"/>
              <a:ext cx="3692525" cy="595313"/>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sp>
          <p:nvSpPr>
            <p:cNvPr id="18" name="Rechteck 17">
              <a:extLst>
                <a:ext uri="{FF2B5EF4-FFF2-40B4-BE49-F238E27FC236}">
                  <a16:creationId xmlns:a16="http://schemas.microsoft.com/office/drawing/2014/main" id="{008D51A8-225D-3B2A-BD81-2646D94BB2E3}"/>
                </a:ext>
              </a:extLst>
            </p:cNvPr>
            <p:cNvSpPr/>
            <p:nvPr/>
          </p:nvSpPr>
          <p:spPr>
            <a:xfrm>
              <a:off x="3422650" y="4654551"/>
              <a:ext cx="958849" cy="149224"/>
            </a:xfrm>
            <a:prstGeom prst="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b="1" dirty="0"/>
            </a:p>
          </p:txBody>
        </p:sp>
      </p:grpSp>
    </p:spTree>
    <p:extLst>
      <p:ext uri="{BB962C8B-B14F-4D97-AF65-F5344CB8AC3E}">
        <p14:creationId xmlns:p14="http://schemas.microsoft.com/office/powerpoint/2010/main" val="2631729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0DE071-41FE-12EE-8025-EB2D4AA2C6CC}"/>
              </a:ext>
            </a:extLst>
          </p:cNvPr>
          <p:cNvGraphicFramePr>
            <a:graphicFrameLocks noChangeAspect="1"/>
          </p:cNvGraphicFramePr>
          <p:nvPr>
            <p:custDataLst>
              <p:tags r:id="rId1"/>
            </p:custDataLst>
            <p:extLst>
              <p:ext uri="{D42A27DB-BD31-4B8C-83A1-F6EECF244321}">
                <p14:modId xmlns:p14="http://schemas.microsoft.com/office/powerpoint/2010/main" val="133292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a:extLst>
                          <a:ext uri="{FF2B5EF4-FFF2-40B4-BE49-F238E27FC236}">
                            <a16:creationId xmlns:a16="http://schemas.microsoft.com/office/drawing/2014/main" id="{2A0DE071-41FE-12EE-8025-EB2D4AA2C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256F7792-0E0B-D04B-6E4C-B4C838917FE2}"/>
              </a:ext>
            </a:extLst>
          </p:cNvPr>
          <p:cNvSpPr>
            <a:spLocks noGrp="1"/>
          </p:cNvSpPr>
          <p:nvPr>
            <p:ph type="body" sz="quarter" idx="10"/>
          </p:nvPr>
        </p:nvSpPr>
        <p:spPr>
          <a:xfrm>
            <a:off x="623888" y="3687554"/>
            <a:ext cx="1770788" cy="318924"/>
          </a:xfrm>
        </p:spPr>
        <p:txBody>
          <a:bodyPr/>
          <a:lstStyle/>
          <a:p>
            <a:r>
              <a:rPr lang="de-DE" dirty="0"/>
              <a:t>Optionaler Subtitle</a:t>
            </a:r>
          </a:p>
        </p:txBody>
      </p:sp>
    </p:spTree>
    <p:extLst>
      <p:ext uri="{BB962C8B-B14F-4D97-AF65-F5344CB8AC3E}">
        <p14:creationId xmlns:p14="http://schemas.microsoft.com/office/powerpoint/2010/main" val="179730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digital_Master">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digital_Colors">
      <a:dk1>
        <a:srgbClr val="000000"/>
      </a:dk1>
      <a:lt1>
        <a:sysClr val="window" lastClr="FFFFFF"/>
      </a:lt1>
      <a:dk2>
        <a:srgbClr val="7F7F7F"/>
      </a:dk2>
      <a:lt2>
        <a:srgbClr val="6339E2"/>
      </a:lt2>
      <a:accent1>
        <a:srgbClr val="2DFAFF"/>
      </a:accent1>
      <a:accent2>
        <a:srgbClr val="F6338F"/>
      </a:accent2>
      <a:accent3>
        <a:srgbClr val="038CC0"/>
      </a:accent3>
      <a:accent4>
        <a:srgbClr val="E7263B"/>
      </a:accent4>
      <a:accent5>
        <a:srgbClr val="F17525"/>
      </a:accent5>
      <a:accent6>
        <a:srgbClr val="55B647"/>
      </a:accent6>
      <a:hlink>
        <a:srgbClr val="000000"/>
      </a:hlink>
      <a:folHlink>
        <a:srgbClr val="000000"/>
      </a:folHlink>
    </a:clrScheme>
    <a:fontScheme name="msg_digital_Schrift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a53a62bb-fe8c-40a9-b721-69dc556ec299" ContentTypeId="0x010100CB739A34987DFC4799956597BE84C54F" PreviousValue="false"/>
</file>

<file path=customXml/item4.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19FEC48B6A5147478AE9ECE9F3A5663B" ma:contentTypeVersion="76" ma:contentTypeDescription="Ein neues Dokument erstellen" ma:contentTypeScope="" ma:versionID="2c8602833267f37b82564c3ff7093f66">
  <xsd:schema xmlns:xsd="http://www.w3.org/2001/XMLSchema" xmlns:xs="http://www.w3.org/2001/XMLSchema" xmlns:p="http://schemas.microsoft.com/office/2006/metadata/properties" xmlns:ns2="f719ecbf-a19d-4b01-ba1f-7ffa0d8a5235" xmlns:ns4="e7947500-db8e-48fe-b58a-929b8c6aa7d1" targetNamespace="http://schemas.microsoft.com/office/2006/metadata/properties" ma:root="true" ma:fieldsID="714ee55ae89170a0b16989ed8361d311" ns2:_="" ns4:_="">
    <xsd:import namespace="f719ecbf-a19d-4b01-ba1f-7ffa0d8a5235"/>
    <xsd:import namespace="e7947500-db8e-48fe-b58a-929b8c6aa7d1"/>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1;#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a35268e5-8d52-41d4-bdfe-10443ddb2556}" ma:internalName="TaxCatchAll" ma:showField="CatchAllData"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35268e5-8d52-41d4-bdfe-10443ddb2556}" ma:internalName="TaxCatchAllLabel" ma:readOnly="true" ma:showField="CatchAllDataLabel" ma:web="e7947500-db8e-48fe-b58a-929b8c6aa7d1">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7947500-db8e-48fe-b58a-929b8c6aa7d1"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1</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e7947500-db8e-48fe-b58a-929b8c6aa7d1">44K5UNVNUCQU-1985158415-324</_dlc_DocId>
    <_dlc_DocIdUrl xmlns="e7947500-db8e-48fe-b58a-929b8c6aa7d1">
      <Url>https://msggroup.sharepoint.com/sites/TEA-mds-Portfoliomanagement/_layouts/15/DocIdRedir.aspx?ID=44K5UNVNUCQU-1985158415-324</Url>
      <Description>44K5UNVNUCQU-1985158415-324</Description>
    </_dlc_DocIdUrl>
  </documentManagement>
</p:properties>
</file>

<file path=customXml/itemProps1.xml><?xml version="1.0" encoding="utf-8"?>
<ds:datastoreItem xmlns:ds="http://schemas.openxmlformats.org/officeDocument/2006/customXml" ds:itemID="{5E57B46C-85B4-404F-8453-19ACD5F04058}">
  <ds:schemaRefs>
    <ds:schemaRef ds:uri="http://schemas.microsoft.com/sharepoint/v3/contenttype/forms"/>
  </ds:schemaRefs>
</ds:datastoreItem>
</file>

<file path=customXml/itemProps2.xml><?xml version="1.0" encoding="utf-8"?>
<ds:datastoreItem xmlns:ds="http://schemas.openxmlformats.org/officeDocument/2006/customXml" ds:itemID="{DC3FD57D-5380-4126-880E-9ED0510E2F3B}">
  <ds:schemaRefs>
    <ds:schemaRef ds:uri="http://schemas.microsoft.com/sharepoint/events"/>
  </ds:schemaRefs>
</ds:datastoreItem>
</file>

<file path=customXml/itemProps3.xml><?xml version="1.0" encoding="utf-8"?>
<ds:datastoreItem xmlns:ds="http://schemas.openxmlformats.org/officeDocument/2006/customXml" ds:itemID="{97EE877A-59A2-405B-B167-3BC1F72A06A2}">
  <ds:schemaRefs>
    <ds:schemaRef ds:uri="Microsoft.SharePoint.Taxonomy.ContentTypeSync"/>
  </ds:schemaRefs>
</ds:datastoreItem>
</file>

<file path=customXml/itemProps4.xml><?xml version="1.0" encoding="utf-8"?>
<ds:datastoreItem xmlns:ds="http://schemas.openxmlformats.org/officeDocument/2006/customXml" ds:itemID="{A4632328-D17D-483B-8AE5-0E86C9236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e7947500-db8e-48fe-b58a-929b8c6aa7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0258210C-85BE-4C95-870A-F4C2CE2804F1}">
  <ds:schemaRefs>
    <ds:schemaRef ds:uri="http://schemas.microsoft.com/office/2006/metadata/properties"/>
    <ds:schemaRef ds:uri="http://schemas.microsoft.com/office/infopath/2007/PartnerControls"/>
    <ds:schemaRef ds:uri="f719ecbf-a19d-4b01-ba1f-7ffa0d8a5235"/>
    <ds:schemaRef ds:uri="e7947500-db8e-48fe-b58a-929b8c6aa7d1"/>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otalTime>0</TotalTime>
  <Words>3266</Words>
  <Application>Microsoft Office PowerPoint</Application>
  <PresentationFormat>Breitbild</PresentationFormat>
  <Paragraphs>636</Paragraphs>
  <Slides>50</Slides>
  <Notes>3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9" baseType="lpstr">
      <vt:lpstr>Akkurat LL</vt:lpstr>
      <vt:lpstr>Akkurat LL Light</vt:lpstr>
      <vt:lpstr>Akkurat LL Thin</vt:lpstr>
      <vt:lpstr>Arial</vt:lpstr>
      <vt:lpstr>Calibri</vt:lpstr>
      <vt:lpstr>Roboto</vt:lpstr>
      <vt:lpstr>Wingdings</vt:lpstr>
      <vt:lpstr>msg_digital_Master</vt:lpstr>
      <vt:lpstr>think-cell Folie</vt:lpstr>
      <vt:lpstr>*title*</vt:lpstr>
      <vt:lpstr>PowerPoint-Präsentation</vt:lpstr>
      <vt:lpstr>PowerPoint-Präsentation</vt:lpstr>
      <vt:lpstr>Vielen Dank</vt:lpstr>
      <vt:lpstr>Aufzählungszeichen und Hervorhebungen</vt:lpstr>
      <vt:lpstr>Das Gestaltungsraster</vt:lpstr>
      <vt:lpstr>10 Standardfarben als Farbset für den Power Point Master.</vt:lpstr>
      <vt:lpstr>Fußzeile formatieren</vt:lpstr>
      <vt:lpstr>PowerPoint-Präsentation</vt:lpstr>
      <vt:lpstr>Agenda</vt:lpstr>
      <vt:lpstr>Das ist ein  neues Kapitel</vt:lpstr>
      <vt:lpstr>Agenda</vt:lpstr>
      <vt:lpstr>Das ist ein  neues Kapitel</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Headline, in der Begriffe  fett geschrieben werden können.</vt:lpstr>
      <vt:lpstr>Ich bin eine etwas längere Headline.</vt:lpstr>
      <vt:lpstr>Ich bin eine etwas längere Headline.</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Lorem ipsum dolor sit amet consetetur sadipscing elitr sed diam nonumy eirmod tempor invidunt ut labore et dolore magna. </vt:lpstr>
      <vt:lpstr>PowerPoint-Präsentatio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Ich bin eine Headline, in welcher manche wichtigen Begriffe auch fett geschrieben werden kön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Wir bieten umfassende digitale Lösungen an, die sowohl technische Exzellenz als auch unternehmerische Expertise vereinen.</vt:lpstr>
      <vt:lpstr>Data Driven CX als Basis für eine  erfolgreiche Differenzierung.</vt:lpstr>
      <vt:lpstr>We create ecosystems for a better life. Based on our expertise in industries.</vt:lpstr>
      <vt:lpstr>Wir befinden uns im 6. Kondratieff-Zyklus, in welchem die Themen Nachhaltigkeit, Ökoeffizienz und künstliche Intelligenz eine übergeordnete Rolle einnehmen.</vt:lpstr>
      <vt:lpstr>Ich bin eine Headline, in welcher manche wichtigen Begriffe auch fett geschrieben werden können.</vt:lpstr>
      <vt:lpstr>Ich bin eine Headline, in welcher manche wichtigen Begriffe auch fett geschrieben werden können.</vt:lpstr>
      <vt:lpstr>Icons (1/7)</vt:lpstr>
      <vt:lpstr>Icons (2/7)</vt:lpstr>
      <vt:lpstr>Icons (3/7)</vt:lpstr>
      <vt:lpstr>Icons (4/7)</vt:lpstr>
      <vt:lpstr>Icons (5/7)</vt:lpstr>
      <vt:lpstr>Icons (6/7)</vt:lpstr>
      <vt:lpstr>Icons (7/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Michael Ludwig</cp:lastModifiedBy>
  <cp:revision>39</cp:revision>
  <dcterms:created xsi:type="dcterms:W3CDTF">2024-04-10T11:48:09Z</dcterms:created>
  <dcterms:modified xsi:type="dcterms:W3CDTF">2024-10-21T16: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39A34987DFC4799956597BE84C54F0019FEC48B6A5147478AE9ECE9F3A5663B</vt:lpwstr>
  </property>
  <property fmtid="{D5CDD505-2E9C-101B-9397-08002B2CF9AE}" pid="3" name="_dlc_DocIdItemGuid">
    <vt:lpwstr>29dbf626-1812-412b-94df-cc8f1562edb5</vt:lpwstr>
  </property>
  <property fmtid="{D5CDD505-2E9C-101B-9397-08002B2CF9AE}" pid="4" name="msg_status">
    <vt:lpwstr>1;#draft|f1fe2a98-d56b-449d-82ee-cefd9e5def11</vt:lpwstr>
  </property>
  <property fmtid="{D5CDD505-2E9C-101B-9397-08002B2CF9AE}" pid="5" name="MediaServiceImageTags">
    <vt:lpwstr/>
  </property>
  <property fmtid="{D5CDD505-2E9C-101B-9397-08002B2CF9AE}" pid="6" name="lcf76f155ced4ddcb4097134ff3c332f">
    <vt:lpwstr/>
  </property>
  <property fmtid="{D5CDD505-2E9C-101B-9397-08002B2CF9AE}" pid="7" name="msg_firma">
    <vt:lpwstr/>
  </property>
</Properties>
</file>